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5"/>
  </p:notesMasterIdLst>
  <p:sldIdLst>
    <p:sldId id="256" r:id="rId5"/>
    <p:sldId id="506" r:id="rId6"/>
    <p:sldId id="259" r:id="rId7"/>
    <p:sldId id="258" r:id="rId8"/>
    <p:sldId id="507" r:id="rId9"/>
    <p:sldId id="399" r:id="rId10"/>
    <p:sldId id="262" r:id="rId11"/>
    <p:sldId id="509" r:id="rId12"/>
    <p:sldId id="407" r:id="rId13"/>
    <p:sldId id="499" r:id="rId14"/>
    <p:sldId id="510" r:id="rId15"/>
    <p:sldId id="505" r:id="rId16"/>
    <p:sldId id="495" r:id="rId17"/>
    <p:sldId id="408" r:id="rId18"/>
    <p:sldId id="446" r:id="rId19"/>
    <p:sldId id="447" r:id="rId20"/>
    <p:sldId id="448" r:id="rId21"/>
    <p:sldId id="513" r:id="rId22"/>
    <p:sldId id="512" r:id="rId23"/>
    <p:sldId id="286" r:id="rId2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89A0058-88AB-103C-C51B-969F7778D698}" name="Hafeneger, Nina" initials="HN" userId="S::NH@avh.de::c5141c37-98a9-4ea2-90c8-bf279715e10c" providerId="AD"/>
  <p188:author id="{C0068864-DEC8-ED2D-8B6C-D2F2078780E9}" name="Dunkel, Thomas" initials="DT" userId="S::Thd@avh.de::bdc455c5-caca-452c-b8fa-da201accad55" providerId="AD"/>
  <p188:author id="{4F5E8AE0-5161-028C-BE08-68F73E3B5A86}" name="Fetzer, Friederike" initials="FF" userId="S::fetzer@kreativ-konzept.com::7e9f60e3-b662-4423-bd06-4ea0910b2b6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sabel.kobus@t-online.de" initials="ik" lastIdx="1" clrIdx="0">
    <p:extLst>
      <p:ext uri="{19B8F6BF-5375-455C-9EA6-DF929625EA0E}">
        <p15:presenceInfo xmlns:p15="http://schemas.microsoft.com/office/powerpoint/2012/main" userId="ac10da582886b98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2E242D-0232-4A53-BD2F-30FDE6611BC9}" v="1" dt="2023-06-21T10:03:23.123"/>
    <p1510:client id="{77E16F2B-930A-4573-B0F5-ABAFE75BD586}" v="1" dt="2023-06-22T11:11:08.793"/>
    <p1510:client id="{95BE364A-4A50-4632-8E48-7958EA831A4F}" v="1" dt="2023-06-21T11:49:46.551"/>
    <p1510:client id="{E5F332E1-0FFE-407D-9CEA-B71CED89A39D}" v="96" dt="2023-06-21T13:19:59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907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9E49B3-D354-0C44-9E8C-F3EDFB64010E}" type="datetimeFigureOut">
              <a:rPr lang="de-DE" smtClean="0"/>
              <a:t>22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D3333F-A465-3046-8431-FB04349D89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7309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D3333F-A465-3046-8431-FB04349D89B0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7078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D3333F-A465-3046-8431-FB04349D89B0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89649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altLang="de-DE" sz="1000"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D3333F-A465-3046-8431-FB04349D89B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95917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altLang="de-DE" sz="1000"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D3333F-A465-3046-8431-FB04349D89B0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4724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altLang="de-DE" sz="1000"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D3333F-A465-3046-8431-FB04349D89B0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25539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D3333F-A465-3046-8431-FB04349D89B0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1701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D3333F-A465-3046-8431-FB04349D89B0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6721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070D444E-8222-ABBF-F00D-E2419BEC99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6850166-1250-3006-ABF5-0770C87A16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69819" y="2303812"/>
            <a:ext cx="4115449" cy="1693039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de-DE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C6BD25B-0F53-407F-4DE4-BCF2474831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69819" y="4369572"/>
            <a:ext cx="4115449" cy="12949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472067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97C12D-5ADE-892B-7DA5-B9AA17A50F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2655" y="681037"/>
            <a:ext cx="4651144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85D22F0-7438-2451-389B-5CFA691355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02654" y="2505694"/>
            <a:ext cx="4651145" cy="28619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1A9D77B-4CB3-3D06-5DE3-3FD2262CF2F1}"/>
              </a:ext>
            </a:extLst>
          </p:cNvPr>
          <p:cNvSpPr/>
          <p:nvPr userDrawn="1"/>
        </p:nvSpPr>
        <p:spPr>
          <a:xfrm>
            <a:off x="2312600" y="3467563"/>
            <a:ext cx="439387" cy="4393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17FDD45-E268-8A4B-3F0B-7A67B12B6046}"/>
              </a:ext>
            </a:extLst>
          </p:cNvPr>
          <p:cNvSpPr/>
          <p:nvPr userDrawn="1"/>
        </p:nvSpPr>
        <p:spPr>
          <a:xfrm>
            <a:off x="5018602" y="5826801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3EBCE94-3BB0-8793-F5FB-0E6F42BAB92A}"/>
              </a:ext>
            </a:extLst>
          </p:cNvPr>
          <p:cNvSpPr/>
          <p:nvPr userDrawn="1"/>
        </p:nvSpPr>
        <p:spPr>
          <a:xfrm>
            <a:off x="4073237" y="2613660"/>
            <a:ext cx="180852" cy="18085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1183E65-5B87-8C07-386E-6B1357793FF7}"/>
              </a:ext>
            </a:extLst>
          </p:cNvPr>
          <p:cNvSpPr/>
          <p:nvPr userDrawn="1"/>
        </p:nvSpPr>
        <p:spPr>
          <a:xfrm>
            <a:off x="391886" y="2938541"/>
            <a:ext cx="308758" cy="30875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7A406B0-D092-BCF9-3169-E17E48B8D497}"/>
              </a:ext>
            </a:extLst>
          </p:cNvPr>
          <p:cNvSpPr/>
          <p:nvPr userDrawn="1"/>
        </p:nvSpPr>
        <p:spPr>
          <a:xfrm>
            <a:off x="1829164" y="5472988"/>
            <a:ext cx="178130" cy="1781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45F35B87-44A0-0A45-FD91-312FCE090F82}"/>
              </a:ext>
            </a:extLst>
          </p:cNvPr>
          <p:cNvCxnSpPr>
            <a:cxnSpLocks/>
            <a:stCxn id="11" idx="2"/>
            <a:endCxn id="14" idx="6"/>
          </p:cNvCxnSpPr>
          <p:nvPr userDrawn="1"/>
        </p:nvCxnSpPr>
        <p:spPr>
          <a:xfrm flipH="1" flipV="1">
            <a:off x="700644" y="3092920"/>
            <a:ext cx="1611956" cy="59433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3C2E6212-BA26-D61B-6686-ED0D187DCA75}"/>
              </a:ext>
            </a:extLst>
          </p:cNvPr>
          <p:cNvCxnSpPr>
            <a:cxnSpLocks/>
            <a:stCxn id="13" idx="3"/>
            <a:endCxn id="11" idx="7"/>
          </p:cNvCxnSpPr>
          <p:nvPr userDrawn="1"/>
        </p:nvCxnSpPr>
        <p:spPr>
          <a:xfrm flipH="1">
            <a:off x="2687640" y="2768027"/>
            <a:ext cx="1412082" cy="7638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C3503FAA-7BDB-ED3D-62EE-022E170E91B7}"/>
              </a:ext>
            </a:extLst>
          </p:cNvPr>
          <p:cNvCxnSpPr>
            <a:endCxn id="14" idx="7"/>
          </p:cNvCxnSpPr>
          <p:nvPr userDrawn="1"/>
        </p:nvCxnSpPr>
        <p:spPr>
          <a:xfrm flipH="1">
            <a:off x="655427" y="1243013"/>
            <a:ext cx="709029" cy="17407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7A02017C-01B2-3893-AEB7-BB37D60F2E1D}"/>
              </a:ext>
            </a:extLst>
          </p:cNvPr>
          <p:cNvCxnSpPr>
            <a:cxnSpLocks/>
            <a:endCxn id="11" idx="0"/>
          </p:cNvCxnSpPr>
          <p:nvPr userDrawn="1"/>
        </p:nvCxnSpPr>
        <p:spPr>
          <a:xfrm>
            <a:off x="1788880" y="1498903"/>
            <a:ext cx="743414" cy="196866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0E711974-FB1D-FC8C-4F7C-99B16A23B96B}"/>
              </a:ext>
            </a:extLst>
          </p:cNvPr>
          <p:cNvCxnSpPr>
            <a:cxnSpLocks/>
            <a:stCxn id="12" idx="1"/>
            <a:endCxn id="11" idx="5"/>
          </p:cNvCxnSpPr>
          <p:nvPr userDrawn="1"/>
        </p:nvCxnSpPr>
        <p:spPr>
          <a:xfrm flipH="1" flipV="1">
            <a:off x="2687640" y="3842603"/>
            <a:ext cx="2360527" cy="20137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>
            <a:extLst>
              <a:ext uri="{FF2B5EF4-FFF2-40B4-BE49-F238E27FC236}">
                <a16:creationId xmlns:a16="http://schemas.microsoft.com/office/drawing/2014/main" id="{4144DA21-072B-87CD-2B69-D0BC384A4A94}"/>
              </a:ext>
            </a:extLst>
          </p:cNvPr>
          <p:cNvCxnSpPr>
            <a:cxnSpLocks/>
            <a:stCxn id="11" idx="3"/>
            <a:endCxn id="15" idx="7"/>
          </p:cNvCxnSpPr>
          <p:nvPr userDrawn="1"/>
        </p:nvCxnSpPr>
        <p:spPr>
          <a:xfrm flipH="1">
            <a:off x="1981207" y="3842603"/>
            <a:ext cx="395740" cy="16564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>
            <a:extLst>
              <a:ext uri="{FF2B5EF4-FFF2-40B4-BE49-F238E27FC236}">
                <a16:creationId xmlns:a16="http://schemas.microsoft.com/office/drawing/2014/main" id="{8100604D-2876-50B0-089E-F125F26EEA58}"/>
              </a:ext>
            </a:extLst>
          </p:cNvPr>
          <p:cNvCxnSpPr>
            <a:cxnSpLocks/>
            <a:stCxn id="15" idx="3"/>
          </p:cNvCxnSpPr>
          <p:nvPr userDrawn="1"/>
        </p:nvCxnSpPr>
        <p:spPr>
          <a:xfrm flipH="1">
            <a:off x="0" y="5625031"/>
            <a:ext cx="1855251" cy="5659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id="{AC85E6C3-BF63-4746-E292-CCB0194B46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5294" y="225792"/>
            <a:ext cx="4945894" cy="2329092"/>
          </a:xfrm>
          <a:prstGeom prst="rect">
            <a:avLst/>
          </a:prstGeom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9E6311DE-72C7-DB2F-0300-A1DFCEA44D64}"/>
              </a:ext>
            </a:extLst>
          </p:cNvPr>
          <p:cNvSpPr txBox="1"/>
          <p:nvPr userDrawn="1"/>
        </p:nvSpPr>
        <p:spPr>
          <a:xfrm>
            <a:off x="831850" y="6396180"/>
            <a:ext cx="37733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BC29D-A5FE-1248-A03D-D7D35CA1AE83}" type="slidenum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lang="de-DE" sz="1100" b="0" i="0">
                <a:solidFill>
                  <a:schemeClr val="tx1"/>
                </a:solidFill>
                <a:latin typeface="IBM Plex Sans Light" panose="020B0403050203000203" pitchFamily="34" charset="0"/>
              </a:rPr>
              <a:t> | </a:t>
            </a:r>
            <a:fld id="{EF543838-273D-F04A-829F-F5483DF16BC0}" type="datetimeFigureOut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06.2023</a:t>
            </a:fld>
            <a:endParaRPr lang="de-DE" sz="1100" b="0" i="0">
              <a:solidFill>
                <a:schemeClr val="tx1"/>
              </a:solidFill>
              <a:latin typeface="IBM Plex Sans Light" panose="020B0403050203000203" pitchFamily="34" charset="0"/>
            </a:endParaRPr>
          </a:p>
        </p:txBody>
      </p:sp>
      <p:cxnSp>
        <p:nvCxnSpPr>
          <p:cNvPr id="60" name="Gerade Verbindung 59">
            <a:extLst>
              <a:ext uri="{FF2B5EF4-FFF2-40B4-BE49-F238E27FC236}">
                <a16:creationId xmlns:a16="http://schemas.microsoft.com/office/drawing/2014/main" id="{2C9D0367-6037-86F0-362C-8BBC016F5884}"/>
              </a:ext>
            </a:extLst>
          </p:cNvPr>
          <p:cNvCxnSpPr>
            <a:cxnSpLocks/>
            <a:stCxn id="14" idx="2"/>
          </p:cNvCxnSpPr>
          <p:nvPr userDrawn="1"/>
        </p:nvCxnSpPr>
        <p:spPr>
          <a:xfrm flipH="1">
            <a:off x="-8920" y="3092920"/>
            <a:ext cx="400806" cy="570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669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FB95C2-683E-E21F-ED2C-9BB81CDD12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301222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ED616DB-2C3D-15F5-2F3D-457F0C79D5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9301223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D62E856-1E80-0377-9D21-1C06910391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18453" y="6263375"/>
            <a:ext cx="527219" cy="527219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4F8828D-058B-34B6-0113-A74D909E9C31}"/>
              </a:ext>
            </a:extLst>
          </p:cNvPr>
          <p:cNvSpPr txBox="1"/>
          <p:nvPr userDrawn="1"/>
        </p:nvSpPr>
        <p:spPr>
          <a:xfrm>
            <a:off x="831850" y="6396180"/>
            <a:ext cx="37733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BC29D-A5FE-1248-A03D-D7D35CA1AE83}" type="slidenum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lang="de-DE" sz="1100" b="0" i="0">
                <a:solidFill>
                  <a:schemeClr val="tx1"/>
                </a:solidFill>
                <a:latin typeface="IBM Plex Sans Light" panose="020B0403050203000203" pitchFamily="34" charset="0"/>
              </a:rPr>
              <a:t> | </a:t>
            </a:r>
            <a:fld id="{EF543838-273D-F04A-829F-F5483DF16BC0}" type="datetimeFigureOut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06.2023</a:t>
            </a:fld>
            <a:endParaRPr lang="de-DE" sz="1100" b="0" i="0">
              <a:solidFill>
                <a:schemeClr val="tx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F728CB3-1FBE-429B-5E17-F0B9742B6823}"/>
              </a:ext>
            </a:extLst>
          </p:cNvPr>
          <p:cNvSpPr/>
          <p:nvPr userDrawn="1"/>
        </p:nvSpPr>
        <p:spPr>
          <a:xfrm>
            <a:off x="10872502" y="1923254"/>
            <a:ext cx="439387" cy="4393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35A3D06-F9C7-B981-FE36-B223078EA846}"/>
              </a:ext>
            </a:extLst>
          </p:cNvPr>
          <p:cNvSpPr/>
          <p:nvPr userDrawn="1"/>
        </p:nvSpPr>
        <p:spPr>
          <a:xfrm>
            <a:off x="11733468" y="2623594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E315D71-DDD1-BBB8-0844-C4F2492C9952}"/>
              </a:ext>
            </a:extLst>
          </p:cNvPr>
          <p:cNvSpPr/>
          <p:nvPr userDrawn="1"/>
        </p:nvSpPr>
        <p:spPr>
          <a:xfrm>
            <a:off x="11131037" y="411897"/>
            <a:ext cx="180852" cy="18085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11AE4C1-0EC4-ECB4-A15F-B31DAD2C5522}"/>
              </a:ext>
            </a:extLst>
          </p:cNvPr>
          <p:cNvSpPr/>
          <p:nvPr userDrawn="1"/>
        </p:nvSpPr>
        <p:spPr>
          <a:xfrm>
            <a:off x="10238767" y="3250870"/>
            <a:ext cx="178130" cy="1781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E452B3C6-4546-B3B3-D6BB-19B67123D204}"/>
              </a:ext>
            </a:extLst>
          </p:cNvPr>
          <p:cNvCxnSpPr>
            <a:cxnSpLocks/>
            <a:stCxn id="13" idx="4"/>
            <a:endCxn id="11" idx="0"/>
          </p:cNvCxnSpPr>
          <p:nvPr userDrawn="1"/>
        </p:nvCxnSpPr>
        <p:spPr>
          <a:xfrm flipH="1">
            <a:off x="11092196" y="592749"/>
            <a:ext cx="129267" cy="133050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D97B2EBB-740A-46B5-E1E7-849589401C1A}"/>
              </a:ext>
            </a:extLst>
          </p:cNvPr>
          <p:cNvCxnSpPr>
            <a:cxnSpLocks/>
            <a:stCxn id="12" idx="1"/>
            <a:endCxn id="11" idx="5"/>
          </p:cNvCxnSpPr>
          <p:nvPr userDrawn="1"/>
        </p:nvCxnSpPr>
        <p:spPr>
          <a:xfrm flipH="1" flipV="1">
            <a:off x="11247542" y="2298294"/>
            <a:ext cx="515491" cy="3548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2A13F09B-D6BD-3D92-B11A-8A8503BD664D}"/>
              </a:ext>
            </a:extLst>
          </p:cNvPr>
          <p:cNvCxnSpPr>
            <a:cxnSpLocks/>
            <a:stCxn id="11" idx="3"/>
            <a:endCxn id="15" idx="7"/>
          </p:cNvCxnSpPr>
          <p:nvPr userDrawn="1"/>
        </p:nvCxnSpPr>
        <p:spPr>
          <a:xfrm flipH="1">
            <a:off x="10390810" y="2298294"/>
            <a:ext cx="546039" cy="9786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60248CE4-B0E2-536B-BFAE-6E88D96CE514}"/>
              </a:ext>
            </a:extLst>
          </p:cNvPr>
          <p:cNvCxnSpPr>
            <a:cxnSpLocks/>
            <a:endCxn id="13" idx="7"/>
          </p:cNvCxnSpPr>
          <p:nvPr userDrawn="1"/>
        </p:nvCxnSpPr>
        <p:spPr>
          <a:xfrm flipH="1">
            <a:off x="11285404" y="238760"/>
            <a:ext cx="927674" cy="1996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>
            <a:extLst>
              <a:ext uri="{FF2B5EF4-FFF2-40B4-BE49-F238E27FC236}">
                <a16:creationId xmlns:a16="http://schemas.microsoft.com/office/drawing/2014/main" id="{CA84A3E1-1949-80B5-C872-BA2CA45CA7C3}"/>
              </a:ext>
            </a:extLst>
          </p:cNvPr>
          <p:cNvCxnSpPr>
            <a:cxnSpLocks/>
            <a:endCxn id="12" idx="6"/>
          </p:cNvCxnSpPr>
          <p:nvPr userDrawn="1"/>
        </p:nvCxnSpPr>
        <p:spPr>
          <a:xfrm flipH="1">
            <a:off x="11935348" y="2623594"/>
            <a:ext cx="256652" cy="1009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5327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FB95C2-683E-E21F-ED2C-9BB81CDD12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6268" y="365125"/>
            <a:ext cx="8848139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ED616DB-2C3D-15F5-2F3D-457F0C79D5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986268" y="1825625"/>
            <a:ext cx="884814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D62E856-1E80-0377-9D21-1C06910391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18453" y="6263375"/>
            <a:ext cx="527219" cy="527219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4F8828D-058B-34B6-0113-A74D909E9C31}"/>
              </a:ext>
            </a:extLst>
          </p:cNvPr>
          <p:cNvSpPr txBox="1"/>
          <p:nvPr userDrawn="1"/>
        </p:nvSpPr>
        <p:spPr>
          <a:xfrm>
            <a:off x="831850" y="6396180"/>
            <a:ext cx="37733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BC29D-A5FE-1248-A03D-D7D35CA1AE83}" type="slidenum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lang="de-DE" sz="1100" b="0" i="0">
                <a:solidFill>
                  <a:schemeClr val="tx1"/>
                </a:solidFill>
                <a:latin typeface="IBM Plex Sans Light" panose="020B0403050203000203" pitchFamily="34" charset="0"/>
              </a:rPr>
              <a:t> | </a:t>
            </a:r>
            <a:fld id="{EF543838-273D-F04A-829F-F5483DF16BC0}" type="datetimeFigureOut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06.2023</a:t>
            </a:fld>
            <a:endParaRPr lang="de-DE" sz="1100" b="0" i="0">
              <a:solidFill>
                <a:schemeClr val="tx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F728CB3-1FBE-429B-5E17-F0B9742B6823}"/>
              </a:ext>
            </a:extLst>
          </p:cNvPr>
          <p:cNvSpPr/>
          <p:nvPr userDrawn="1"/>
        </p:nvSpPr>
        <p:spPr>
          <a:xfrm>
            <a:off x="991327" y="1923254"/>
            <a:ext cx="439387" cy="4393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35A3D06-F9C7-B981-FE36-B223078EA846}"/>
              </a:ext>
            </a:extLst>
          </p:cNvPr>
          <p:cNvSpPr/>
          <p:nvPr userDrawn="1"/>
        </p:nvSpPr>
        <p:spPr>
          <a:xfrm>
            <a:off x="1852293" y="2623594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E315D71-DDD1-BBB8-0844-C4F2492C9952}"/>
              </a:ext>
            </a:extLst>
          </p:cNvPr>
          <p:cNvSpPr/>
          <p:nvPr userDrawn="1"/>
        </p:nvSpPr>
        <p:spPr>
          <a:xfrm>
            <a:off x="1249862" y="411897"/>
            <a:ext cx="180852" cy="18085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11AE4C1-0EC4-ECB4-A15F-B31DAD2C5522}"/>
              </a:ext>
            </a:extLst>
          </p:cNvPr>
          <p:cNvSpPr/>
          <p:nvPr userDrawn="1"/>
        </p:nvSpPr>
        <p:spPr>
          <a:xfrm>
            <a:off x="357592" y="3250870"/>
            <a:ext cx="178130" cy="1781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E452B3C6-4546-B3B3-D6BB-19B67123D204}"/>
              </a:ext>
            </a:extLst>
          </p:cNvPr>
          <p:cNvCxnSpPr>
            <a:cxnSpLocks/>
            <a:stCxn id="13" idx="4"/>
            <a:endCxn id="11" idx="0"/>
          </p:cNvCxnSpPr>
          <p:nvPr userDrawn="1"/>
        </p:nvCxnSpPr>
        <p:spPr>
          <a:xfrm flipH="1">
            <a:off x="1211021" y="592749"/>
            <a:ext cx="129267" cy="133050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D97B2EBB-740A-46B5-E1E7-849589401C1A}"/>
              </a:ext>
            </a:extLst>
          </p:cNvPr>
          <p:cNvCxnSpPr>
            <a:cxnSpLocks/>
            <a:stCxn id="12" idx="1"/>
            <a:endCxn id="11" idx="5"/>
          </p:cNvCxnSpPr>
          <p:nvPr userDrawn="1"/>
        </p:nvCxnSpPr>
        <p:spPr>
          <a:xfrm flipH="1" flipV="1">
            <a:off x="1366367" y="2298294"/>
            <a:ext cx="515491" cy="3548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2A13F09B-D6BD-3D92-B11A-8A8503BD664D}"/>
              </a:ext>
            </a:extLst>
          </p:cNvPr>
          <p:cNvCxnSpPr>
            <a:cxnSpLocks/>
            <a:stCxn id="11" idx="3"/>
            <a:endCxn id="15" idx="7"/>
          </p:cNvCxnSpPr>
          <p:nvPr userDrawn="1"/>
        </p:nvCxnSpPr>
        <p:spPr>
          <a:xfrm flipH="1">
            <a:off x="509635" y="2298294"/>
            <a:ext cx="546039" cy="9786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60248CE4-B0E2-536B-BFAE-6E88D96CE514}"/>
              </a:ext>
            </a:extLst>
          </p:cNvPr>
          <p:cNvCxnSpPr>
            <a:cxnSpLocks/>
            <a:endCxn id="13" idx="1"/>
          </p:cNvCxnSpPr>
          <p:nvPr userDrawn="1"/>
        </p:nvCxnSpPr>
        <p:spPr>
          <a:xfrm>
            <a:off x="717630" y="0"/>
            <a:ext cx="558717" cy="4383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>
            <a:extLst>
              <a:ext uri="{FF2B5EF4-FFF2-40B4-BE49-F238E27FC236}">
                <a16:creationId xmlns:a16="http://schemas.microsoft.com/office/drawing/2014/main" id="{CA84A3E1-1949-80B5-C872-BA2CA45CA7C3}"/>
              </a:ext>
            </a:extLst>
          </p:cNvPr>
          <p:cNvCxnSpPr>
            <a:cxnSpLocks/>
            <a:stCxn id="15" idx="6"/>
            <a:endCxn id="12" idx="3"/>
          </p:cNvCxnSpPr>
          <p:nvPr userDrawn="1"/>
        </p:nvCxnSpPr>
        <p:spPr>
          <a:xfrm flipV="1">
            <a:off x="535722" y="2795909"/>
            <a:ext cx="1346136" cy="5440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E76021D8-C4A4-39D6-B41B-3FAA317E8810}"/>
              </a:ext>
            </a:extLst>
          </p:cNvPr>
          <p:cNvCxnSpPr>
            <a:cxnSpLocks/>
            <a:endCxn id="15" idx="2"/>
          </p:cNvCxnSpPr>
          <p:nvPr userDrawn="1"/>
        </p:nvCxnSpPr>
        <p:spPr>
          <a:xfrm>
            <a:off x="0" y="3276957"/>
            <a:ext cx="357592" cy="6297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95536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Oval 58">
            <a:extLst>
              <a:ext uri="{FF2B5EF4-FFF2-40B4-BE49-F238E27FC236}">
                <a16:creationId xmlns:a16="http://schemas.microsoft.com/office/drawing/2014/main" id="{9E8E8AF8-F207-C008-1EB5-329575615E5F}"/>
              </a:ext>
            </a:extLst>
          </p:cNvPr>
          <p:cNvSpPr/>
          <p:nvPr userDrawn="1"/>
        </p:nvSpPr>
        <p:spPr>
          <a:xfrm>
            <a:off x="7295994" y="5549095"/>
            <a:ext cx="611706" cy="61170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4A23B11-430F-B328-A77C-465B5A8F99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A04EBDA-0331-1B44-C5B0-5BBDBC3590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D656D15-1AAA-2897-98A9-1A4FF40F33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552698"/>
            <a:ext cx="3932237" cy="33162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316276B-EA7E-D3FE-2D51-3F4A5D78B6F2}"/>
              </a:ext>
            </a:extLst>
          </p:cNvPr>
          <p:cNvSpPr txBox="1"/>
          <p:nvPr userDrawn="1"/>
        </p:nvSpPr>
        <p:spPr>
          <a:xfrm>
            <a:off x="831850" y="6396180"/>
            <a:ext cx="37733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BC29D-A5FE-1248-A03D-D7D35CA1AE83}" type="slidenum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lang="de-DE" sz="1100" b="0" i="0">
                <a:solidFill>
                  <a:schemeClr val="tx1"/>
                </a:solidFill>
                <a:latin typeface="IBM Plex Sans Light" panose="020B0403050203000203" pitchFamily="34" charset="0"/>
              </a:rPr>
              <a:t> | </a:t>
            </a:r>
            <a:fld id="{EF543838-273D-F04A-829F-F5483DF16BC0}" type="datetimeFigureOut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06.2023</a:t>
            </a:fld>
            <a:endParaRPr lang="de-DE" sz="1100" b="0" i="0">
              <a:solidFill>
                <a:schemeClr val="tx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16C19EB-2166-EE83-08CD-BFD894628894}"/>
              </a:ext>
            </a:extLst>
          </p:cNvPr>
          <p:cNvSpPr/>
          <p:nvPr userDrawn="1"/>
        </p:nvSpPr>
        <p:spPr>
          <a:xfrm>
            <a:off x="11046359" y="687674"/>
            <a:ext cx="611706" cy="61170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C68603F-45B1-52A3-5CBE-0E1D2E1B7863}"/>
              </a:ext>
            </a:extLst>
          </p:cNvPr>
          <p:cNvSpPr/>
          <p:nvPr userDrawn="1"/>
        </p:nvSpPr>
        <p:spPr>
          <a:xfrm>
            <a:off x="11767110" y="1676619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112F0BD-B07F-E30F-4523-1B12FA6CFF50}"/>
              </a:ext>
            </a:extLst>
          </p:cNvPr>
          <p:cNvSpPr/>
          <p:nvPr userDrawn="1"/>
        </p:nvSpPr>
        <p:spPr>
          <a:xfrm>
            <a:off x="11808125" y="249137"/>
            <a:ext cx="180852" cy="18085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C43601A-14D0-5612-2CFF-8324347532F5}"/>
              </a:ext>
            </a:extLst>
          </p:cNvPr>
          <p:cNvCxnSpPr>
            <a:cxnSpLocks/>
            <a:stCxn id="13" idx="3"/>
            <a:endCxn id="11" idx="7"/>
          </p:cNvCxnSpPr>
          <p:nvPr userDrawn="1"/>
        </p:nvCxnSpPr>
        <p:spPr>
          <a:xfrm flipH="1">
            <a:off x="11568483" y="403504"/>
            <a:ext cx="266127" cy="373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77C6A169-D963-6C30-D5D1-BA76F303FA01}"/>
              </a:ext>
            </a:extLst>
          </p:cNvPr>
          <p:cNvCxnSpPr>
            <a:cxnSpLocks/>
            <a:stCxn id="12" idx="1"/>
            <a:endCxn id="11" idx="5"/>
          </p:cNvCxnSpPr>
          <p:nvPr userDrawn="1"/>
        </p:nvCxnSpPr>
        <p:spPr>
          <a:xfrm flipH="1" flipV="1">
            <a:off x="11568483" y="1209798"/>
            <a:ext cx="228192" cy="49638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E5A01C9B-1EA6-C111-8E60-19902289A52E}"/>
              </a:ext>
            </a:extLst>
          </p:cNvPr>
          <p:cNvCxnSpPr>
            <a:cxnSpLocks/>
            <a:endCxn id="13" idx="1"/>
          </p:cNvCxnSpPr>
          <p:nvPr userDrawn="1"/>
        </p:nvCxnSpPr>
        <p:spPr>
          <a:xfrm>
            <a:off x="11568483" y="-30759"/>
            <a:ext cx="266127" cy="30638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E9FD762F-D6D2-3702-677A-ADA85D38E66B}"/>
              </a:ext>
            </a:extLst>
          </p:cNvPr>
          <p:cNvSpPr/>
          <p:nvPr userDrawn="1"/>
        </p:nvSpPr>
        <p:spPr>
          <a:xfrm>
            <a:off x="11487457" y="2552698"/>
            <a:ext cx="129952" cy="12995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7" name="Gerade Verbindung 46">
            <a:extLst>
              <a:ext uri="{FF2B5EF4-FFF2-40B4-BE49-F238E27FC236}">
                <a16:creationId xmlns:a16="http://schemas.microsoft.com/office/drawing/2014/main" id="{9771D8C8-42D2-4F99-DD83-8802A83F0FD0}"/>
              </a:ext>
            </a:extLst>
          </p:cNvPr>
          <p:cNvCxnSpPr>
            <a:cxnSpLocks/>
            <a:stCxn id="46" idx="0"/>
            <a:endCxn id="12" idx="3"/>
          </p:cNvCxnSpPr>
          <p:nvPr userDrawn="1"/>
        </p:nvCxnSpPr>
        <p:spPr>
          <a:xfrm flipV="1">
            <a:off x="11552433" y="1848934"/>
            <a:ext cx="244242" cy="7037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032998A4-FE90-DFF1-0924-7769416BCD62}"/>
              </a:ext>
            </a:extLst>
          </p:cNvPr>
          <p:cNvCxnSpPr>
            <a:cxnSpLocks/>
            <a:endCxn id="12" idx="5"/>
          </p:cNvCxnSpPr>
          <p:nvPr userDrawn="1"/>
        </p:nvCxnSpPr>
        <p:spPr>
          <a:xfrm flipH="1" flipV="1">
            <a:off x="11939425" y="1848934"/>
            <a:ext cx="228192" cy="943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704DFAC8-BA6A-449F-87DD-6C5EDB1C8BBA}"/>
              </a:ext>
            </a:extLst>
          </p:cNvPr>
          <p:cNvCxnSpPr>
            <a:cxnSpLocks/>
            <a:endCxn id="46" idx="3"/>
          </p:cNvCxnSpPr>
          <p:nvPr userDrawn="1"/>
        </p:nvCxnSpPr>
        <p:spPr>
          <a:xfrm flipV="1">
            <a:off x="11352212" y="2663619"/>
            <a:ext cx="154276" cy="172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885F08C1-56A5-9E3C-CB0B-FE4BA2A93AD0}"/>
              </a:ext>
            </a:extLst>
          </p:cNvPr>
          <p:cNvSpPr/>
          <p:nvPr userDrawn="1"/>
        </p:nvSpPr>
        <p:spPr>
          <a:xfrm>
            <a:off x="6771040" y="6396180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D3FEB09-93CA-BA90-E639-E5E939154C06}"/>
              </a:ext>
            </a:extLst>
          </p:cNvPr>
          <p:cNvSpPr/>
          <p:nvPr userDrawn="1"/>
        </p:nvSpPr>
        <p:spPr>
          <a:xfrm>
            <a:off x="8208871" y="6410970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4" name="Gerade Verbindung 63">
            <a:extLst>
              <a:ext uri="{FF2B5EF4-FFF2-40B4-BE49-F238E27FC236}">
                <a16:creationId xmlns:a16="http://schemas.microsoft.com/office/drawing/2014/main" id="{169F19B6-4E90-66D5-5CD2-2F8F0A1471B1}"/>
              </a:ext>
            </a:extLst>
          </p:cNvPr>
          <p:cNvCxnSpPr>
            <a:cxnSpLocks/>
            <a:stCxn id="62" idx="7"/>
            <a:endCxn id="59" idx="3"/>
          </p:cNvCxnSpPr>
          <p:nvPr userDrawn="1"/>
        </p:nvCxnSpPr>
        <p:spPr>
          <a:xfrm flipV="1">
            <a:off x="6943355" y="6071219"/>
            <a:ext cx="442221" cy="3545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66">
            <a:extLst>
              <a:ext uri="{FF2B5EF4-FFF2-40B4-BE49-F238E27FC236}">
                <a16:creationId xmlns:a16="http://schemas.microsoft.com/office/drawing/2014/main" id="{1560F407-CF74-AC8F-B8BC-31D29A954840}"/>
              </a:ext>
            </a:extLst>
          </p:cNvPr>
          <p:cNvCxnSpPr>
            <a:cxnSpLocks/>
            <a:stCxn id="63" idx="1"/>
            <a:endCxn id="59" idx="5"/>
          </p:cNvCxnSpPr>
          <p:nvPr userDrawn="1"/>
        </p:nvCxnSpPr>
        <p:spPr>
          <a:xfrm flipH="1" flipV="1">
            <a:off x="7818118" y="6071219"/>
            <a:ext cx="420318" cy="3693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>
            <a:extLst>
              <a:ext uri="{FF2B5EF4-FFF2-40B4-BE49-F238E27FC236}">
                <a16:creationId xmlns:a16="http://schemas.microsoft.com/office/drawing/2014/main" id="{859830C4-65ED-1370-0EE1-94EAD1D1C8B3}"/>
              </a:ext>
            </a:extLst>
          </p:cNvPr>
          <p:cNvCxnSpPr>
            <a:cxnSpLocks/>
            <a:endCxn id="63" idx="4"/>
          </p:cNvCxnSpPr>
          <p:nvPr userDrawn="1"/>
        </p:nvCxnSpPr>
        <p:spPr>
          <a:xfrm flipV="1">
            <a:off x="8309811" y="6612850"/>
            <a:ext cx="0" cy="28338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7A75CFE2-34EB-801E-94D3-E6A2E57740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18453" y="6263375"/>
            <a:ext cx="527219" cy="52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493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FB95C2-683E-E21F-ED2C-9BB81CDD12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301222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ED616DB-2C3D-15F5-2F3D-457F0C79D5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9301223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D62E856-1E80-0377-9D21-1C06910391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18453" y="6263375"/>
            <a:ext cx="527219" cy="527219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4F8828D-058B-34B6-0113-A74D909E9C31}"/>
              </a:ext>
            </a:extLst>
          </p:cNvPr>
          <p:cNvSpPr txBox="1"/>
          <p:nvPr userDrawn="1"/>
        </p:nvSpPr>
        <p:spPr>
          <a:xfrm>
            <a:off x="831850" y="6396180"/>
            <a:ext cx="37733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BC29D-A5FE-1248-A03D-D7D35CA1AE83}" type="slidenum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lang="de-DE" sz="1100" b="0" i="0">
                <a:solidFill>
                  <a:schemeClr val="tx1"/>
                </a:solidFill>
                <a:latin typeface="IBM Plex Sans Light" panose="020B0403050203000203" pitchFamily="34" charset="0"/>
              </a:rPr>
              <a:t> | </a:t>
            </a:r>
            <a:fld id="{EF543838-273D-F04A-829F-F5483DF16BC0}" type="datetimeFigureOut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06.2023</a:t>
            </a:fld>
            <a:endParaRPr lang="de-DE" sz="1100" b="0" i="0">
              <a:solidFill>
                <a:schemeClr val="tx1"/>
              </a:solidFill>
              <a:latin typeface="IBM Plex Sans Light" panose="020B04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73062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6D62E856-1E80-0377-9D21-1C06910391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18453" y="6263375"/>
            <a:ext cx="527219" cy="527219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4F8828D-058B-34B6-0113-A74D909E9C31}"/>
              </a:ext>
            </a:extLst>
          </p:cNvPr>
          <p:cNvSpPr txBox="1"/>
          <p:nvPr userDrawn="1"/>
        </p:nvSpPr>
        <p:spPr>
          <a:xfrm>
            <a:off x="831850" y="6396180"/>
            <a:ext cx="37733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BC29D-A5FE-1248-A03D-D7D35CA1AE83}" type="slidenum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lang="de-DE" sz="1100" b="0" i="0">
                <a:solidFill>
                  <a:schemeClr val="tx1"/>
                </a:solidFill>
                <a:latin typeface="IBM Plex Sans Light" panose="020B0403050203000203" pitchFamily="34" charset="0"/>
              </a:rPr>
              <a:t> | </a:t>
            </a:r>
            <a:fld id="{EF543838-273D-F04A-829F-F5483DF16BC0}" type="datetimeFigureOut">
              <a:rPr lang="de-DE" sz="1100" b="0" i="0" smtClean="0">
                <a:solidFill>
                  <a:schemeClr val="tx1"/>
                </a:solidFill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06.2023</a:t>
            </a:fld>
            <a:endParaRPr lang="de-DE" sz="1100" b="0" i="0">
              <a:solidFill>
                <a:schemeClr val="tx1"/>
              </a:solidFill>
              <a:latin typeface="IBM Plex Sans Light" panose="020B04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6044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F2576F0-1CB6-3621-15F9-5CECF50C2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F6CBD0-C87D-F953-CD0A-48CA754D3F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FE93FD-48FF-C766-497E-5AE10FAB1C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51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2CEBC29D-A5FE-1248-A03D-D7D35CA1AE83}" type="slidenum">
              <a:rPr lang="de-DE" smtClean="0"/>
              <a:pPr/>
              <a:t>‹Nr.›</a:t>
            </a:fld>
            <a:r>
              <a:rPr lang="de-DE"/>
              <a:t> | </a:t>
            </a:r>
            <a:fld id="{EF543838-273D-F04A-829F-F5483DF16BC0}" type="datetimeFigureOut">
              <a:rPr lang="de-DE" smtClean="0"/>
              <a:pPr/>
              <a:t>22.06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8209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8" r:id="rId4"/>
    <p:sldLayoutId id="2147483657" r:id="rId5"/>
    <p:sldLayoutId id="2147483659" r:id="rId6"/>
    <p:sldLayoutId id="2147483660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5"/>
          </a:solidFill>
          <a:latin typeface="IBM Plex Sans" panose="020B050305020300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IBM Plex Sans Light" panose="020B040305020300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IBM Plex Sans Light" panose="020B040305020300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IBM Plex Sans Light" panose="020B040305020300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IBM Plex Sans Light" panose="020B040305020300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IBM Plex Sans Light" panose="020B040305020300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jpeg"/><Relationship Id="rId4" Type="http://schemas.openxmlformats.org/officeDocument/2006/relationships/image" Target="../media/image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5.jpeg"/><Relationship Id="rId4" Type="http://schemas.openxmlformats.org/officeDocument/2006/relationships/image" Target="../media/image6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7" Type="http://schemas.openxmlformats.org/officeDocument/2006/relationships/image" Target="../media/image3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9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slideLayout" Target="../slideLayouts/slideLayout7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image" Target="../media/image11.gif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image" Target="../media/image12.gif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image" Target="../media/image13.gif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image" Target="../media/image14.gif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image" Target="../media/image15.gif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image" Target="../media/image16.png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notesSlide" Target="../notesSlides/notesSlide1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62" Type="http://schemas.openxmlformats.org/officeDocument/2006/relationships/tags" Target="../tags/tag162.xml"/><Relationship Id="rId218" Type="http://schemas.openxmlformats.org/officeDocument/2006/relationships/tags" Target="../tags/tag2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7C2796-2261-E555-FBAE-96EE695002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24551" y="1706508"/>
            <a:ext cx="4115449" cy="2055595"/>
          </a:xfrm>
        </p:spPr>
        <p:txBody>
          <a:bodyPr>
            <a:noAutofit/>
          </a:bodyPr>
          <a:lstStyle/>
          <a:p>
            <a:r>
              <a:rPr lang="de-DE"/>
              <a:t>EXZELLENZ </a:t>
            </a:r>
            <a:br>
              <a:rPr lang="de-DE"/>
            </a:br>
            <a:r>
              <a:rPr lang="de-DE"/>
              <a:t>VERBINDET –</a:t>
            </a:r>
            <a:br>
              <a:rPr lang="de-DE" sz="2400"/>
            </a:br>
            <a:r>
              <a:rPr lang="de-DE" sz="2400" b="0"/>
              <a:t>BE PART OF A </a:t>
            </a:r>
            <a:br>
              <a:rPr lang="de-DE" sz="2400" b="0"/>
            </a:br>
            <a:r>
              <a:rPr lang="de-DE" sz="2400" b="0"/>
              <a:t>WORLDWIDE NETWORK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AD98772-900E-2CF9-627D-CCBB6B506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24551" y="4133924"/>
            <a:ext cx="4115449" cy="1294958"/>
          </a:xfrm>
        </p:spPr>
        <p:txBody>
          <a:bodyPr>
            <a:normAutofit fontScale="85000" lnSpcReduction="20000"/>
          </a:bodyPr>
          <a:lstStyle/>
          <a:p>
            <a:r>
              <a:rPr lang="de-DE"/>
              <a:t>Speaker</a:t>
            </a:r>
          </a:p>
          <a:p>
            <a:r>
              <a:rPr lang="de-DE" err="1"/>
              <a:t>Function</a:t>
            </a:r>
            <a:r>
              <a:rPr lang="de-DE"/>
              <a:t> </a:t>
            </a:r>
          </a:p>
          <a:p>
            <a:r>
              <a:rPr lang="de-DE"/>
              <a:t>Date</a:t>
            </a:r>
          </a:p>
          <a:p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ven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51561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3D1CD400-AA28-E77E-F1C2-76D4FD6CEEA4}"/>
              </a:ext>
            </a:extLst>
          </p:cNvPr>
          <p:cNvSpPr txBox="1">
            <a:spLocks/>
          </p:cNvSpPr>
          <p:nvPr/>
        </p:nvSpPr>
        <p:spPr>
          <a:xfrm>
            <a:off x="8385288" y="3621060"/>
            <a:ext cx="3657599" cy="6563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de-DE" sz="2800">
                <a:solidFill>
                  <a:schemeClr val="accent2"/>
                </a:solidFill>
              </a:rPr>
              <a:t>Business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BF142B2-CDEF-EA10-9F9D-A891E78BEC8D}"/>
              </a:ext>
            </a:extLst>
          </p:cNvPr>
          <p:cNvSpPr txBox="1">
            <a:spLocks/>
          </p:cNvSpPr>
          <p:nvPr/>
        </p:nvSpPr>
        <p:spPr>
          <a:xfrm>
            <a:off x="1703751" y="2482784"/>
            <a:ext cx="2698743" cy="6045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de-DE" sz="2800">
                <a:solidFill>
                  <a:schemeClr val="accent2"/>
                </a:solidFill>
              </a:rPr>
              <a:t>Politic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8F87D28-DD27-AE10-0752-191066F86617}"/>
              </a:ext>
            </a:extLst>
          </p:cNvPr>
          <p:cNvSpPr txBox="1">
            <a:spLocks/>
          </p:cNvSpPr>
          <p:nvPr/>
        </p:nvSpPr>
        <p:spPr>
          <a:xfrm>
            <a:off x="6756321" y="1398066"/>
            <a:ext cx="4016628" cy="106985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de-DE" sz="2800">
                <a:solidFill>
                  <a:schemeClr val="accent2"/>
                </a:solidFill>
              </a:rPr>
              <a:t>Public Administratio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B8CA315-442F-B0B2-B91C-E4CC0A89A9C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000"/>
          <a:stretch/>
        </p:blipFill>
        <p:spPr>
          <a:xfrm>
            <a:off x="5101372" y="2719752"/>
            <a:ext cx="2316660" cy="1374410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A877F173-BE7C-904E-271C-84B8EC6726DC}"/>
              </a:ext>
            </a:extLst>
          </p:cNvPr>
          <p:cNvSpPr txBox="1">
            <a:spLocks/>
          </p:cNvSpPr>
          <p:nvPr/>
        </p:nvSpPr>
        <p:spPr>
          <a:xfrm>
            <a:off x="1368308" y="5175796"/>
            <a:ext cx="4016628" cy="62691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de-DE" sz="2800">
                <a:solidFill>
                  <a:schemeClr val="accent2"/>
                </a:solidFill>
              </a:rPr>
              <a:t>Society and Cultur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F7931495-6338-6FB6-0239-B548078DA92D}"/>
              </a:ext>
            </a:extLst>
          </p:cNvPr>
          <p:cNvSpPr txBox="1">
            <a:spLocks/>
          </p:cNvSpPr>
          <p:nvPr/>
        </p:nvSpPr>
        <p:spPr>
          <a:xfrm>
            <a:off x="6658005" y="5335702"/>
            <a:ext cx="3657599" cy="89568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de-DE" sz="2800">
                <a:solidFill>
                  <a:schemeClr val="accent2"/>
                </a:solidFill>
              </a:rPr>
              <a:t>University </a:t>
            </a:r>
            <a:r>
              <a:rPr lang="de-DE" sz="2800" err="1">
                <a:solidFill>
                  <a:schemeClr val="accent2"/>
                </a:solidFill>
              </a:rPr>
              <a:t>Graduates</a:t>
            </a:r>
            <a:endParaRPr lang="de-DE" sz="2800">
              <a:solidFill>
                <a:schemeClr val="accent2"/>
              </a:solidFill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8535CE45-BF97-C0D5-6977-5A30709B5234}"/>
              </a:ext>
            </a:extLst>
          </p:cNvPr>
          <p:cNvSpPr/>
          <p:nvPr/>
        </p:nvSpPr>
        <p:spPr>
          <a:xfrm>
            <a:off x="9009630" y="2940063"/>
            <a:ext cx="635675" cy="619681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F2149374-1F10-EBC6-9706-18F3B6F06EFD}"/>
              </a:ext>
            </a:extLst>
          </p:cNvPr>
          <p:cNvSpPr/>
          <p:nvPr/>
        </p:nvSpPr>
        <p:spPr>
          <a:xfrm>
            <a:off x="6943779" y="5097877"/>
            <a:ext cx="585002" cy="56381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5B284918-B168-6F52-24C5-0439CA0F6CC1}"/>
              </a:ext>
            </a:extLst>
          </p:cNvPr>
          <p:cNvSpPr/>
          <p:nvPr/>
        </p:nvSpPr>
        <p:spPr>
          <a:xfrm>
            <a:off x="6211667" y="1108607"/>
            <a:ext cx="656001" cy="653518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F7BA0425-F91C-08F4-564C-FEB39E2AC719}"/>
              </a:ext>
            </a:extLst>
          </p:cNvPr>
          <p:cNvSpPr/>
          <p:nvPr/>
        </p:nvSpPr>
        <p:spPr>
          <a:xfrm>
            <a:off x="3413271" y="4595012"/>
            <a:ext cx="585002" cy="580784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A7187FC8-E686-15B4-C39B-1B7A8ECDCF3D}"/>
              </a:ext>
            </a:extLst>
          </p:cNvPr>
          <p:cNvSpPr/>
          <p:nvPr/>
        </p:nvSpPr>
        <p:spPr>
          <a:xfrm>
            <a:off x="3744466" y="2682146"/>
            <a:ext cx="531173" cy="523444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3317CD31-D3F3-2590-0E3F-7331887A1463}"/>
              </a:ext>
            </a:extLst>
          </p:cNvPr>
          <p:cNvCxnSpPr>
            <a:cxnSpLocks/>
            <a:stCxn id="26" idx="6"/>
            <a:endCxn id="26" idx="6"/>
          </p:cNvCxnSpPr>
          <p:nvPr/>
        </p:nvCxnSpPr>
        <p:spPr>
          <a:xfrm>
            <a:off x="4275639" y="294386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38429E98-F5B2-02BE-E873-04979A089421}"/>
              </a:ext>
            </a:extLst>
          </p:cNvPr>
          <p:cNvCxnSpPr>
            <a:cxnSpLocks/>
            <a:stCxn id="22" idx="4"/>
            <a:endCxn id="23" idx="7"/>
          </p:cNvCxnSpPr>
          <p:nvPr/>
        </p:nvCxnSpPr>
        <p:spPr>
          <a:xfrm flipH="1">
            <a:off x="7443109" y="3559744"/>
            <a:ext cx="1884359" cy="162070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4F043D2-A75E-65CE-3B4A-96AE7497423C}"/>
              </a:ext>
            </a:extLst>
          </p:cNvPr>
          <p:cNvCxnSpPr>
            <a:cxnSpLocks/>
            <a:stCxn id="24" idx="5"/>
            <a:endCxn id="22" idx="1"/>
          </p:cNvCxnSpPr>
          <p:nvPr/>
        </p:nvCxnSpPr>
        <p:spPr>
          <a:xfrm>
            <a:off x="6771599" y="1666420"/>
            <a:ext cx="2331123" cy="136439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FF6AE1EE-6ABE-EFDA-4D12-B59469B631C5}"/>
              </a:ext>
            </a:extLst>
          </p:cNvPr>
          <p:cNvCxnSpPr>
            <a:cxnSpLocks/>
            <a:stCxn id="26" idx="4"/>
            <a:endCxn id="25" idx="0"/>
          </p:cNvCxnSpPr>
          <p:nvPr/>
        </p:nvCxnSpPr>
        <p:spPr>
          <a:xfrm flipH="1">
            <a:off x="3705772" y="3205590"/>
            <a:ext cx="304281" cy="13894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A00A7826-165F-68A5-DC7C-92FA79ABFE29}"/>
              </a:ext>
            </a:extLst>
          </p:cNvPr>
          <p:cNvCxnSpPr>
            <a:cxnSpLocks/>
            <a:stCxn id="26" idx="7"/>
            <a:endCxn id="24" idx="2"/>
          </p:cNvCxnSpPr>
          <p:nvPr/>
        </p:nvCxnSpPr>
        <p:spPr>
          <a:xfrm flipV="1">
            <a:off x="4197851" y="1435366"/>
            <a:ext cx="2013816" cy="132343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3628BD1E-7CCD-DD16-23CA-315E95B6231A}"/>
              </a:ext>
            </a:extLst>
          </p:cNvPr>
          <p:cNvCxnSpPr>
            <a:cxnSpLocks/>
            <a:stCxn id="25" idx="7"/>
          </p:cNvCxnSpPr>
          <p:nvPr/>
        </p:nvCxnSpPr>
        <p:spPr>
          <a:xfrm flipV="1">
            <a:off x="3912601" y="4013913"/>
            <a:ext cx="1248564" cy="66615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A840F9AB-1FC4-1690-AB04-76D844CFDE2A}"/>
              </a:ext>
            </a:extLst>
          </p:cNvPr>
          <p:cNvCxnSpPr>
            <a:cxnSpLocks/>
            <a:stCxn id="25" idx="6"/>
            <a:endCxn id="23" idx="2"/>
          </p:cNvCxnSpPr>
          <p:nvPr/>
        </p:nvCxnSpPr>
        <p:spPr>
          <a:xfrm>
            <a:off x="3998273" y="4885404"/>
            <a:ext cx="2945506" cy="49437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622DD2D2-9CD8-B275-38A9-B8366FF6E394}"/>
              </a:ext>
            </a:extLst>
          </p:cNvPr>
          <p:cNvCxnSpPr>
            <a:cxnSpLocks/>
            <a:stCxn id="24" idx="4"/>
            <a:endCxn id="7" idx="0"/>
          </p:cNvCxnSpPr>
          <p:nvPr/>
        </p:nvCxnSpPr>
        <p:spPr>
          <a:xfrm flipH="1">
            <a:off x="6259702" y="1762125"/>
            <a:ext cx="279966" cy="957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7F8E20BE-6E5F-7D2A-099A-D8BBEF462080}"/>
              </a:ext>
            </a:extLst>
          </p:cNvPr>
          <p:cNvCxnSpPr>
            <a:cxnSpLocks/>
            <a:stCxn id="75" idx="5"/>
            <a:endCxn id="25" idx="1"/>
          </p:cNvCxnSpPr>
          <p:nvPr/>
        </p:nvCxnSpPr>
        <p:spPr>
          <a:xfrm>
            <a:off x="1286361" y="3932982"/>
            <a:ext cx="2212582" cy="74708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Ellipse 73">
            <a:extLst>
              <a:ext uri="{FF2B5EF4-FFF2-40B4-BE49-F238E27FC236}">
                <a16:creationId xmlns:a16="http://schemas.microsoft.com/office/drawing/2014/main" id="{D408035A-1943-13DB-56E9-433933515454}"/>
              </a:ext>
            </a:extLst>
          </p:cNvPr>
          <p:cNvSpPr/>
          <p:nvPr/>
        </p:nvSpPr>
        <p:spPr>
          <a:xfrm>
            <a:off x="10868576" y="2402449"/>
            <a:ext cx="287847" cy="279697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5" name="Ellipse 74">
            <a:extLst>
              <a:ext uri="{FF2B5EF4-FFF2-40B4-BE49-F238E27FC236}">
                <a16:creationId xmlns:a16="http://schemas.microsoft.com/office/drawing/2014/main" id="{569007D5-CA6F-2D60-02C1-E80BAB3BECDB}"/>
              </a:ext>
            </a:extLst>
          </p:cNvPr>
          <p:cNvSpPr/>
          <p:nvPr/>
        </p:nvSpPr>
        <p:spPr>
          <a:xfrm>
            <a:off x="1040668" y="3694246"/>
            <a:ext cx="287847" cy="279697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6" name="Ellipse 75">
            <a:extLst>
              <a:ext uri="{FF2B5EF4-FFF2-40B4-BE49-F238E27FC236}">
                <a16:creationId xmlns:a16="http://schemas.microsoft.com/office/drawing/2014/main" id="{A6491F23-ABF4-1C74-AACC-4EEC79A64F3A}"/>
              </a:ext>
            </a:extLst>
          </p:cNvPr>
          <p:cNvSpPr/>
          <p:nvPr/>
        </p:nvSpPr>
        <p:spPr>
          <a:xfrm>
            <a:off x="3825063" y="6419495"/>
            <a:ext cx="287847" cy="279697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13A069B5-2D32-1EE1-DF9B-04EFD8E3399E}"/>
              </a:ext>
            </a:extLst>
          </p:cNvPr>
          <p:cNvCxnSpPr>
            <a:cxnSpLocks/>
            <a:stCxn id="22" idx="7"/>
            <a:endCxn id="74" idx="3"/>
          </p:cNvCxnSpPr>
          <p:nvPr/>
        </p:nvCxnSpPr>
        <p:spPr>
          <a:xfrm flipV="1">
            <a:off x="9552213" y="2641185"/>
            <a:ext cx="1358517" cy="38962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3D99BE2C-CDFD-E12D-9AF0-67C5A60F4D04}"/>
              </a:ext>
            </a:extLst>
          </p:cNvPr>
          <p:cNvCxnSpPr>
            <a:cxnSpLocks/>
            <a:stCxn id="24" idx="0"/>
          </p:cNvCxnSpPr>
          <p:nvPr/>
        </p:nvCxnSpPr>
        <p:spPr>
          <a:xfrm flipH="1" flipV="1">
            <a:off x="6539667" y="-27789"/>
            <a:ext cx="1" cy="113639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BA9D2E4-4D60-9553-8011-769792009EA0}"/>
              </a:ext>
            </a:extLst>
          </p:cNvPr>
          <p:cNvCxnSpPr>
            <a:cxnSpLocks/>
            <a:stCxn id="75" idx="7"/>
            <a:endCxn id="26" idx="2"/>
          </p:cNvCxnSpPr>
          <p:nvPr/>
        </p:nvCxnSpPr>
        <p:spPr>
          <a:xfrm flipV="1">
            <a:off x="1286361" y="2943868"/>
            <a:ext cx="2458105" cy="79133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6592F25D-0F83-06EB-24F9-175807D0C32E}"/>
              </a:ext>
            </a:extLst>
          </p:cNvPr>
          <p:cNvCxnSpPr>
            <a:stCxn id="75" idx="3"/>
          </p:cNvCxnSpPr>
          <p:nvPr/>
        </p:nvCxnSpPr>
        <p:spPr>
          <a:xfrm flipH="1">
            <a:off x="-96991" y="3932982"/>
            <a:ext cx="1179813" cy="814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5A9B24EF-AC5E-F958-14B1-66D5A04613D1}"/>
              </a:ext>
            </a:extLst>
          </p:cNvPr>
          <p:cNvCxnSpPr>
            <a:cxnSpLocks/>
            <a:stCxn id="25" idx="4"/>
            <a:endCxn id="76" idx="0"/>
          </p:cNvCxnSpPr>
          <p:nvPr/>
        </p:nvCxnSpPr>
        <p:spPr>
          <a:xfrm>
            <a:off x="3705772" y="5175796"/>
            <a:ext cx="263215" cy="124369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012DEAA0-74F9-B380-676F-CB22F34935AA}"/>
              </a:ext>
            </a:extLst>
          </p:cNvPr>
          <p:cNvCxnSpPr>
            <a:cxnSpLocks/>
            <a:stCxn id="102" idx="5"/>
            <a:endCxn id="26" idx="0"/>
          </p:cNvCxnSpPr>
          <p:nvPr/>
        </p:nvCxnSpPr>
        <p:spPr>
          <a:xfrm>
            <a:off x="3227500" y="1694141"/>
            <a:ext cx="782553" cy="98800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2" name="Ellipse 101">
            <a:extLst>
              <a:ext uri="{FF2B5EF4-FFF2-40B4-BE49-F238E27FC236}">
                <a16:creationId xmlns:a16="http://schemas.microsoft.com/office/drawing/2014/main" id="{8268757E-393D-00E3-42EE-56C6541C2E59}"/>
              </a:ext>
            </a:extLst>
          </p:cNvPr>
          <p:cNvSpPr/>
          <p:nvPr/>
        </p:nvSpPr>
        <p:spPr>
          <a:xfrm>
            <a:off x="2981807" y="1455405"/>
            <a:ext cx="287847" cy="279697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20201577-23D3-5039-4459-785F46A5B2DC}"/>
              </a:ext>
            </a:extLst>
          </p:cNvPr>
          <p:cNvCxnSpPr>
            <a:cxnSpLocks/>
            <a:stCxn id="26" idx="5"/>
            <a:endCxn id="7" idx="1"/>
          </p:cNvCxnSpPr>
          <p:nvPr/>
        </p:nvCxnSpPr>
        <p:spPr>
          <a:xfrm>
            <a:off x="4197851" y="3128933"/>
            <a:ext cx="903521" cy="27802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Gerader Verbinder 106">
            <a:extLst>
              <a:ext uri="{FF2B5EF4-FFF2-40B4-BE49-F238E27FC236}">
                <a16:creationId xmlns:a16="http://schemas.microsoft.com/office/drawing/2014/main" id="{28D8F674-946A-4743-830C-D93B3AFE384A}"/>
              </a:ext>
            </a:extLst>
          </p:cNvPr>
          <p:cNvCxnSpPr>
            <a:cxnSpLocks/>
            <a:stCxn id="22" idx="2"/>
            <a:endCxn id="7" idx="3"/>
          </p:cNvCxnSpPr>
          <p:nvPr/>
        </p:nvCxnSpPr>
        <p:spPr>
          <a:xfrm flipH="1">
            <a:off x="7418032" y="3249904"/>
            <a:ext cx="1591598" cy="15705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059BC4CE-1C18-941D-619B-40E11B05C22C}"/>
              </a:ext>
            </a:extLst>
          </p:cNvPr>
          <p:cNvCxnSpPr>
            <a:cxnSpLocks/>
            <a:stCxn id="23" idx="1"/>
          </p:cNvCxnSpPr>
          <p:nvPr/>
        </p:nvCxnSpPr>
        <p:spPr>
          <a:xfrm flipH="1" flipV="1">
            <a:off x="6771599" y="4101645"/>
            <a:ext cx="257852" cy="1078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A767359E-1F93-22E1-0EFF-7B633A59B7BD}"/>
              </a:ext>
            </a:extLst>
          </p:cNvPr>
          <p:cNvCxnSpPr>
            <a:cxnSpLocks/>
            <a:stCxn id="74" idx="6"/>
          </p:cNvCxnSpPr>
          <p:nvPr/>
        </p:nvCxnSpPr>
        <p:spPr>
          <a:xfrm>
            <a:off x="11156423" y="2542298"/>
            <a:ext cx="928447" cy="9454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7" name="Titel 1">
            <a:extLst>
              <a:ext uri="{FF2B5EF4-FFF2-40B4-BE49-F238E27FC236}">
                <a16:creationId xmlns:a16="http://schemas.microsoft.com/office/drawing/2014/main" id="{1C88E097-300B-21B0-0AB4-5FE3F24634C3}"/>
              </a:ext>
            </a:extLst>
          </p:cNvPr>
          <p:cNvSpPr txBox="1">
            <a:spLocks/>
          </p:cNvSpPr>
          <p:nvPr/>
        </p:nvSpPr>
        <p:spPr>
          <a:xfrm>
            <a:off x="829147" y="729052"/>
            <a:ext cx="6043277" cy="66842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TARGET AREA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7874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3" grpId="0"/>
      <p:bldP spid="2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A8B280-CCBF-DAB5-7668-09B9A3969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630585"/>
            <a:ext cx="3932237" cy="1069975"/>
          </a:xfrm>
        </p:spPr>
        <p:txBody>
          <a:bodyPr>
            <a:noAutofit/>
          </a:bodyPr>
          <a:lstStyle/>
          <a:p>
            <a:r>
              <a:rPr lang="de-DE" sz="3600"/>
              <a:t>FELLOWSHIP BENEFITS</a:t>
            </a:r>
            <a:endParaRPr lang="de-DE" sz="3600">
              <a:highlight>
                <a:srgbClr val="FFFF00"/>
              </a:highlight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B2AEF1E-701E-45C9-261B-7D7ED5B7B3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25281"/>
            <a:ext cx="5170719" cy="3811588"/>
          </a:xfrm>
        </p:spPr>
        <p:txBody>
          <a:bodyPr>
            <a:normAutofit/>
          </a:bodyPr>
          <a:lstStyle/>
          <a:p>
            <a:pPr marL="346075" marR="0" lvl="2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Fellowship amount to cover living costs in Germany (2000€, 2300€, 2600€ per month)</a:t>
            </a:r>
          </a:p>
          <a:p>
            <a:pPr marL="346075" marR="0" lvl="2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Various allowances: Mobility, insurance, lump sum for travel expenses, family allowances etc.</a:t>
            </a:r>
          </a:p>
          <a:p>
            <a:pPr marL="346075" marR="0" lvl="2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Subsidy towards research costs to the host in Germany</a:t>
            </a:r>
            <a:endParaRPr lang="en-US" sz="1600">
              <a:solidFill>
                <a:srgbClr val="000000"/>
              </a:solidFill>
            </a:endParaRPr>
          </a:p>
          <a:p>
            <a:pPr marL="346075" marR="0" lvl="2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Europe allowance for stay in another European country</a:t>
            </a:r>
          </a:p>
          <a:p>
            <a:pPr marL="346075" marR="0" lvl="2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German language course</a:t>
            </a:r>
          </a:p>
          <a:p>
            <a:endParaRPr lang="de-DE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73C1C843-6F92-19C6-A5C7-9AAA29E0ADB3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 rotWithShape="1">
          <a:blip r:embed="rId2"/>
          <a:srcRect l="4727" r="-1014"/>
          <a:stretch/>
        </p:blipFill>
        <p:spPr bwMode="auto">
          <a:xfrm>
            <a:off x="6274465" y="1455234"/>
            <a:ext cx="5917535" cy="4236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859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>
            <a:extLst>
              <a:ext uri="{FF2B5EF4-FFF2-40B4-BE49-F238E27FC236}">
                <a16:creationId xmlns:a16="http://schemas.microsoft.com/office/drawing/2014/main" id="{7D1A4BE5-79D7-EFF5-7DCE-BE075FE31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8313" y="625390"/>
            <a:ext cx="9165771" cy="1069975"/>
          </a:xfrm>
        </p:spPr>
        <p:txBody>
          <a:bodyPr>
            <a:normAutofit/>
          </a:bodyPr>
          <a:lstStyle/>
          <a:p>
            <a:r>
              <a:rPr lang="de-DE" sz="4000"/>
              <a:t>NETWORKING EVENTS</a:t>
            </a:r>
            <a:endParaRPr lang="de-DE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226D2946-088B-38A3-F909-F52D367EC61B}"/>
              </a:ext>
            </a:extLst>
          </p:cNvPr>
          <p:cNvSpPr/>
          <p:nvPr/>
        </p:nvSpPr>
        <p:spPr bwMode="auto">
          <a:xfrm>
            <a:off x="1327829" y="2011956"/>
            <a:ext cx="2364049" cy="759400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rgbClr val="00693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Series </a:t>
            </a:r>
            <a:r>
              <a:rPr kumimoji="0" lang="de-DE" sz="16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of</a:t>
            </a: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 online </a:t>
            </a:r>
            <a:r>
              <a:rPr kumimoji="0" lang="de-DE" sz="16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meetings</a:t>
            </a: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 </a:t>
            </a:r>
            <a:r>
              <a:rPr kumimoji="0" lang="de-DE" sz="16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throughout</a:t>
            </a: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 </a:t>
            </a:r>
            <a:r>
              <a:rPr kumimoji="0" lang="de-DE" sz="16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the</a:t>
            </a: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 </a:t>
            </a:r>
            <a:r>
              <a:rPr kumimoji="0" lang="de-DE" sz="16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fellowship</a:t>
            </a: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 </a:t>
            </a:r>
            <a:r>
              <a:rPr kumimoji="0" lang="de-DE" sz="16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year</a:t>
            </a:r>
            <a:endParaRPr kumimoji="0" lang="de-DE" sz="16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IBM Plex Sans" panose="020B0503050203000203" pitchFamily="34" charset="0"/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1BADF88-D127-CD27-9804-DA345D4FBC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4" t="21742" r="71971" b="55352"/>
          <a:stretch/>
        </p:blipFill>
        <p:spPr>
          <a:xfrm>
            <a:off x="1327828" y="2949925"/>
            <a:ext cx="2364049" cy="182518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6C25A53-B1E7-1BF9-23C6-A4CA4FA7883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0" t="23283" r="70109" b="51426"/>
          <a:stretch/>
        </p:blipFill>
        <p:spPr>
          <a:xfrm>
            <a:off x="4164107" y="2070491"/>
            <a:ext cx="4508171" cy="3461888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EECBC0E9-2798-B80B-A9B3-8FEDBBC00DAB}"/>
              </a:ext>
            </a:extLst>
          </p:cNvPr>
          <p:cNvSpPr/>
          <p:nvPr/>
        </p:nvSpPr>
        <p:spPr bwMode="auto">
          <a:xfrm>
            <a:off x="1327828" y="5244576"/>
            <a:ext cx="2364049" cy="759400"/>
          </a:xfrm>
          <a:prstGeom prst="roundRect">
            <a:avLst/>
          </a:prstGeom>
          <a:solidFill>
            <a:schemeClr val="accent5">
              <a:alpha val="65882"/>
            </a:schemeClr>
          </a:solidFill>
          <a:ln w="9525" cap="flat" cmpd="sng" algn="ctr">
            <a:solidFill>
              <a:srgbClr val="00693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Peer </a:t>
            </a:r>
            <a:r>
              <a:rPr lang="de-DE" sz="1600" kern="0" noProof="0" err="1">
                <a:latin typeface="IBM Plex Sans" panose="020B0503050203000203" pitchFamily="34" charset="0"/>
                <a:cs typeface="Arial" charset="0"/>
              </a:rPr>
              <a:t>g</a:t>
            </a:r>
            <a:r>
              <a:rPr kumimoji="0" lang="de-DE" sz="16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roups</a:t>
            </a: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(</a:t>
            </a:r>
            <a:r>
              <a:rPr kumimoji="0" lang="de-DE" sz="16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self</a:t>
            </a:r>
            <a:r>
              <a:rPr lang="de-DE" sz="1600" kern="0">
                <a:latin typeface="IBM Plex Sans" panose="020B0503050203000203" pitchFamily="34" charset="0"/>
                <a:cs typeface="Arial" charset="0"/>
              </a:rPr>
              <a:t>-</a:t>
            </a:r>
            <a:r>
              <a:rPr lang="de-DE" sz="1600" kern="0" err="1">
                <a:latin typeface="IBM Plex Sans" panose="020B0503050203000203" pitchFamily="34" charset="0"/>
                <a:cs typeface="Arial" charset="0"/>
              </a:rPr>
              <a:t>organised</a:t>
            </a: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)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D8E4D75C-D6AF-77B9-DDD5-C4FDD8B65738}"/>
              </a:ext>
            </a:extLst>
          </p:cNvPr>
          <p:cNvSpPr/>
          <p:nvPr/>
        </p:nvSpPr>
        <p:spPr bwMode="auto">
          <a:xfrm>
            <a:off x="8010035" y="1471473"/>
            <a:ext cx="2364049" cy="759400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rgbClr val="00693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  <a:buSzTx/>
              <a:buFontTx/>
              <a:buNone/>
              <a:tabLst/>
              <a:defRPr/>
            </a:pPr>
            <a:r>
              <a:rPr lang="de-DE" sz="1600" kern="0">
                <a:latin typeface="IBM Plex Sans" panose="020B0503050203000203" pitchFamily="34" charset="0"/>
                <a:cs typeface="Arial" charset="0"/>
              </a:rPr>
              <a:t>Opening Conference</a:t>
            </a:r>
            <a:endParaRPr kumimoji="0" lang="de-DE" sz="16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IBM Plex Sans" panose="020B0503050203000203" pitchFamily="34" charset="0"/>
              <a:cs typeface="Arial" charset="0"/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44D769A0-3F71-E204-916F-03FD98DE1896}"/>
              </a:ext>
            </a:extLst>
          </p:cNvPr>
          <p:cNvSpPr/>
          <p:nvPr/>
        </p:nvSpPr>
        <p:spPr bwMode="auto">
          <a:xfrm>
            <a:off x="8801917" y="2465087"/>
            <a:ext cx="2364049" cy="759400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rgbClr val="00693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Half</a:t>
            </a:r>
            <a:r>
              <a:rPr lang="de-DE" sz="1600" kern="0">
                <a:latin typeface="IBM Plex Sans" panose="020B0503050203000203" pitchFamily="34" charset="0"/>
                <a:cs typeface="Arial" charset="0"/>
              </a:rPr>
              <a:t>-</a:t>
            </a:r>
            <a:r>
              <a:rPr kumimoji="0" lang="de-DE" sz="1600" b="0" i="0" u="none" strike="noStrike" kern="0" cap="none" spc="0" normalizeH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time </a:t>
            </a:r>
            <a:r>
              <a:rPr lang="de-DE" sz="1600" kern="0">
                <a:latin typeface="IBM Plex Sans" panose="020B0503050203000203" pitchFamily="34" charset="0"/>
                <a:cs typeface="Arial" charset="0"/>
              </a:rPr>
              <a:t>C</a:t>
            </a:r>
            <a:r>
              <a:rPr kumimoji="0" lang="de-DE" sz="1600" b="0" i="0" u="none" strike="noStrike" kern="0" cap="none" spc="0" normalizeH="0" noProof="0" err="1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onference</a:t>
            </a:r>
            <a:endParaRPr kumimoji="0" lang="de-DE" sz="16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IBM Plex Sans" panose="020B0503050203000203" pitchFamily="34" charset="0"/>
              <a:cs typeface="Arial" charset="0"/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9B8EE611-BB00-80AB-0EDC-156ECFB47E57}"/>
              </a:ext>
            </a:extLst>
          </p:cNvPr>
          <p:cNvSpPr/>
          <p:nvPr/>
        </p:nvSpPr>
        <p:spPr bwMode="auto">
          <a:xfrm>
            <a:off x="9136955" y="3458701"/>
            <a:ext cx="2364049" cy="759400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rgbClr val="00693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  <a:buSzTx/>
              <a:buFontTx/>
              <a:buNone/>
              <a:tabLst/>
              <a:defRPr/>
            </a:pPr>
            <a:r>
              <a:rPr lang="de-DE" sz="1600" kern="0">
                <a:latin typeface="IBM Plex Sans" panose="020B0503050203000203" pitchFamily="34" charset="0"/>
                <a:cs typeface="Arial" charset="0"/>
              </a:rPr>
              <a:t>Meeting</a:t>
            </a: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IBM Plex Sans" panose="020B0503050203000203" pitchFamily="34" charset="0"/>
                <a:cs typeface="Arial" charset="0"/>
              </a:rPr>
              <a:t> in Berlin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001EEFEE-E927-B4BE-3EB4-96B037B8E996}"/>
              </a:ext>
            </a:extLst>
          </p:cNvPr>
          <p:cNvSpPr/>
          <p:nvPr/>
        </p:nvSpPr>
        <p:spPr bwMode="auto">
          <a:xfrm>
            <a:off x="8924582" y="4454739"/>
            <a:ext cx="2364049" cy="759400"/>
          </a:xfrm>
          <a:prstGeom prst="roundRect">
            <a:avLst/>
          </a:prstGeom>
          <a:solidFill>
            <a:schemeClr val="accent2"/>
          </a:solidFill>
          <a:ln w="9525" cap="flat" cmpd="sng" algn="ctr">
            <a:solidFill>
              <a:srgbClr val="00693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  <a:buSzTx/>
              <a:buFontTx/>
              <a:buNone/>
              <a:tabLst/>
              <a:defRPr/>
            </a:pPr>
            <a:r>
              <a:rPr lang="de-DE" sz="1600" kern="0">
                <a:latin typeface="IBM Plex Sans" panose="020B0503050203000203" pitchFamily="34" charset="0"/>
                <a:cs typeface="Arial" charset="0"/>
              </a:rPr>
              <a:t>Humboldt Annual Meeting</a:t>
            </a:r>
            <a:endParaRPr kumimoji="0" lang="de-DE" sz="16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IBM Plex Sans" panose="020B0503050203000203" pitchFamily="34" charset="0"/>
              <a:cs typeface="Arial" charset="0"/>
            </a:endParaRP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EF991F8C-DB59-A403-CB26-AEAB0C43D00A}"/>
              </a:ext>
            </a:extLst>
          </p:cNvPr>
          <p:cNvSpPr/>
          <p:nvPr/>
        </p:nvSpPr>
        <p:spPr bwMode="auto">
          <a:xfrm>
            <a:off x="8266558" y="5445929"/>
            <a:ext cx="2364049" cy="759400"/>
          </a:xfrm>
          <a:prstGeom prst="roundRect">
            <a:avLst/>
          </a:prstGeom>
          <a:solidFill>
            <a:schemeClr val="accent2"/>
          </a:solidFill>
          <a:ln w="9525" cap="flat" cmpd="sng" algn="ctr">
            <a:solidFill>
              <a:srgbClr val="00693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  <a:buSzTx/>
              <a:buFontTx/>
              <a:buNone/>
              <a:tabLst/>
              <a:defRPr/>
            </a:pPr>
            <a:r>
              <a:rPr lang="de-DE" sz="1600" kern="0">
                <a:latin typeface="IBM Plex Sans" panose="020B0503050203000203" pitchFamily="34" charset="0"/>
                <a:cs typeface="Arial" charset="0"/>
              </a:rPr>
              <a:t>Humboldt Study Tour</a:t>
            </a:r>
            <a:endParaRPr kumimoji="0" lang="de-DE" sz="16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IBM Plex Sans" panose="020B0503050203000203" pitchFamily="34" charset="0"/>
              <a:cs typeface="Arial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E6B8BA9-4D7C-2601-7CF3-33AF45264AB8}"/>
              </a:ext>
            </a:extLst>
          </p:cNvPr>
          <p:cNvSpPr txBox="1"/>
          <p:nvPr/>
        </p:nvSpPr>
        <p:spPr>
          <a:xfrm>
            <a:off x="5825722" y="5029473"/>
            <a:ext cx="10727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>
                <a:latin typeface="IBM Plex Sans" panose="020B0503050203000203" pitchFamily="34" charset="0"/>
              </a:rPr>
              <a:t>in-person</a:t>
            </a:r>
          </a:p>
        </p:txBody>
      </p:sp>
    </p:spTree>
    <p:extLst>
      <p:ext uri="{BB962C8B-B14F-4D97-AF65-F5344CB8AC3E}">
        <p14:creationId xmlns:p14="http://schemas.microsoft.com/office/powerpoint/2010/main" val="1233459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  <p:bldP spid="2" grpId="0" animBg="1"/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45085ED4-E7F9-53BC-2147-AFE63B9FD59F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46" t="43019" r="14401" b="27599"/>
          <a:stretch/>
        </p:blipFill>
        <p:spPr>
          <a:xfrm>
            <a:off x="-21201" y="1811547"/>
            <a:ext cx="12234401" cy="3803746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</p:spPr>
      </p:pic>
      <p:sp>
        <p:nvSpPr>
          <p:cNvPr id="15" name="Titel 14">
            <a:extLst>
              <a:ext uri="{FF2B5EF4-FFF2-40B4-BE49-F238E27FC236}">
                <a16:creationId xmlns:a16="http://schemas.microsoft.com/office/drawing/2014/main" id="{7D1A4BE5-79D7-EFF5-7DCE-BE075FE31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7847" y="513010"/>
            <a:ext cx="6744124" cy="1069975"/>
          </a:xfrm>
        </p:spPr>
        <p:txBody>
          <a:bodyPr>
            <a:normAutofit/>
          </a:bodyPr>
          <a:lstStyle/>
          <a:p>
            <a:r>
              <a:rPr lang="de-DE"/>
              <a:t>GERMAN CHANCELLOR FELLOWS at </a:t>
            </a:r>
            <a:r>
              <a:rPr lang="de-DE" err="1"/>
              <a:t>the</a:t>
            </a:r>
            <a:r>
              <a:rPr lang="de-DE"/>
              <a:t> FOREIGN OFFICE</a:t>
            </a:r>
          </a:p>
        </p:txBody>
      </p:sp>
    </p:spTree>
    <p:extLst>
      <p:ext uri="{BB962C8B-B14F-4D97-AF65-F5344CB8AC3E}">
        <p14:creationId xmlns:p14="http://schemas.microsoft.com/office/powerpoint/2010/main" val="37443960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9DFCA1E-A1BA-2EAA-B131-A8D27D2F727D}"/>
              </a:ext>
            </a:extLst>
          </p:cNvPr>
          <p:cNvCxnSpPr>
            <a:cxnSpLocks/>
          </p:cNvCxnSpPr>
          <p:nvPr/>
        </p:nvCxnSpPr>
        <p:spPr>
          <a:xfrm>
            <a:off x="6785179" y="-867508"/>
            <a:ext cx="313950" cy="131591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E952DE8A-1F1F-DC19-36BB-7781811B70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148" y="520708"/>
            <a:ext cx="4756106" cy="1330505"/>
          </a:xfrm>
        </p:spPr>
        <p:txBody>
          <a:bodyPr>
            <a:noAutofit/>
          </a:bodyPr>
          <a:lstStyle/>
          <a:p>
            <a:r>
              <a:rPr lang="en-US"/>
              <a:t>APPLICATION REQUIREMENTS</a:t>
            </a:r>
            <a:endParaRPr lang="de-DE"/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4871D16F-FFBE-F164-CFC9-7530268F4999}"/>
              </a:ext>
            </a:extLst>
          </p:cNvPr>
          <p:cNvCxnSpPr>
            <a:cxnSpLocks/>
          </p:cNvCxnSpPr>
          <p:nvPr/>
        </p:nvCxnSpPr>
        <p:spPr>
          <a:xfrm flipH="1" flipV="1">
            <a:off x="7094251" y="468948"/>
            <a:ext cx="2395040" cy="10984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832048-480C-6CB4-77B5-C1F3C42724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2232035"/>
            <a:ext cx="4747053" cy="3688569"/>
          </a:xfrm>
        </p:spPr>
        <p:txBody>
          <a:bodyPr>
            <a:noAutofit/>
          </a:bodyPr>
          <a:lstStyle/>
          <a:p>
            <a:r>
              <a:rPr lang="en-US" b="1"/>
              <a:t>Citizenship</a:t>
            </a:r>
            <a:r>
              <a:rPr lang="en-US"/>
              <a:t> in one of the target countries</a:t>
            </a:r>
          </a:p>
          <a:p>
            <a:r>
              <a:rPr lang="en-US"/>
              <a:t>Initial proven </a:t>
            </a:r>
            <a:r>
              <a:rPr lang="en-US" b="1"/>
              <a:t>leadership experience</a:t>
            </a:r>
            <a:endParaRPr lang="en-US"/>
          </a:p>
          <a:p>
            <a:r>
              <a:rPr lang="en-US" b="1"/>
              <a:t>Project plan</a:t>
            </a:r>
            <a:r>
              <a:rPr lang="en-US"/>
              <a:t> designed by the applicant and feasible to be completed during the fellowship</a:t>
            </a:r>
          </a:p>
          <a:p>
            <a:r>
              <a:rPr lang="en-US"/>
              <a:t>Confirmed </a:t>
            </a:r>
            <a:r>
              <a:rPr lang="en-US" b="1"/>
              <a:t>host in Germany</a:t>
            </a:r>
          </a:p>
          <a:p>
            <a:r>
              <a:rPr lang="en-US"/>
              <a:t>Two </a:t>
            </a:r>
            <a:r>
              <a:rPr lang="en-US" b="1"/>
              <a:t>letters of recommendation </a:t>
            </a:r>
          </a:p>
          <a:p>
            <a:r>
              <a:rPr lang="en-US"/>
              <a:t>First </a:t>
            </a:r>
            <a:r>
              <a:rPr lang="en-US" b="1"/>
              <a:t>academic degree </a:t>
            </a:r>
            <a:r>
              <a:rPr lang="en-US"/>
              <a:t>completed less than 12 years before the fellowship’s beginning</a:t>
            </a:r>
          </a:p>
          <a:p>
            <a:endParaRPr lang="en-US"/>
          </a:p>
          <a:p>
            <a:pPr marL="0" indent="0">
              <a:lnSpc>
                <a:spcPct val="100000"/>
              </a:lnSpc>
              <a:buNone/>
            </a:pPr>
            <a:endParaRPr lang="en-GB" altLang="de-DE"/>
          </a:p>
          <a:p>
            <a:pPr marL="0" indent="0">
              <a:lnSpc>
                <a:spcPct val="100000"/>
              </a:lnSpc>
              <a:buNone/>
            </a:pPr>
            <a:endParaRPr lang="en-GB" altLang="de-DE" b="1"/>
          </a:p>
          <a:p>
            <a:pPr marL="0" indent="0" eaLnBrk="1" hangingPunct="1">
              <a:lnSpc>
                <a:spcPct val="100000"/>
              </a:lnSpc>
              <a:buNone/>
            </a:pPr>
            <a:endParaRPr lang="de-DE" altLang="de-DE"/>
          </a:p>
        </p:txBody>
      </p: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5137B4CE-8095-E9BE-D21B-BD8786AD311A}"/>
              </a:ext>
            </a:extLst>
          </p:cNvPr>
          <p:cNvCxnSpPr>
            <a:cxnSpLocks/>
          </p:cNvCxnSpPr>
          <p:nvPr/>
        </p:nvCxnSpPr>
        <p:spPr>
          <a:xfrm flipH="1">
            <a:off x="9489290" y="0"/>
            <a:ext cx="893861" cy="578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C338F58A-11CE-1FEE-C052-41F877C563C3}"/>
              </a:ext>
            </a:extLst>
          </p:cNvPr>
          <p:cNvSpPr/>
          <p:nvPr/>
        </p:nvSpPr>
        <p:spPr>
          <a:xfrm>
            <a:off x="7010116" y="385373"/>
            <a:ext cx="178130" cy="1781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1F6B464D-0423-3775-E5C2-EAE26E9FF14F}"/>
              </a:ext>
            </a:extLst>
          </p:cNvPr>
          <p:cNvCxnSpPr>
            <a:cxnSpLocks/>
          </p:cNvCxnSpPr>
          <p:nvPr/>
        </p:nvCxnSpPr>
        <p:spPr>
          <a:xfrm flipH="1">
            <a:off x="8357488" y="599332"/>
            <a:ext cx="1107577" cy="510897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6D58B2B5-8C19-D5A2-83E4-A25BC1AAB20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518453" y="6263375"/>
            <a:ext cx="527219" cy="527219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8DF84943-11B2-4E2C-1164-72813CE48A76}"/>
              </a:ext>
            </a:extLst>
          </p:cNvPr>
          <p:cNvSpPr/>
          <p:nvPr/>
        </p:nvSpPr>
        <p:spPr>
          <a:xfrm>
            <a:off x="9269597" y="373883"/>
            <a:ext cx="439387" cy="4393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13AA379-EE9E-A952-C16B-C02FF8463AE6}"/>
              </a:ext>
            </a:extLst>
          </p:cNvPr>
          <p:cNvSpPr/>
          <p:nvPr/>
        </p:nvSpPr>
        <p:spPr>
          <a:xfrm rot="16805778">
            <a:off x="8256549" y="1009290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4C9DD62-9CD6-B7EC-9754-2CB015136D9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266" t="9012" r="12217"/>
          <a:stretch/>
        </p:blipFill>
        <p:spPr>
          <a:xfrm>
            <a:off x="5917923" y="833814"/>
            <a:ext cx="5986705" cy="554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324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9DFCA1E-A1BA-2EAA-B131-A8D27D2F727D}"/>
              </a:ext>
            </a:extLst>
          </p:cNvPr>
          <p:cNvCxnSpPr>
            <a:cxnSpLocks/>
          </p:cNvCxnSpPr>
          <p:nvPr/>
        </p:nvCxnSpPr>
        <p:spPr>
          <a:xfrm>
            <a:off x="6785179" y="-867508"/>
            <a:ext cx="313950" cy="131591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E952DE8A-1F1F-DC19-36BB-7781811B70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148" y="474408"/>
            <a:ext cx="4756106" cy="1330505"/>
          </a:xfrm>
        </p:spPr>
        <p:txBody>
          <a:bodyPr>
            <a:noAutofit/>
          </a:bodyPr>
          <a:lstStyle/>
          <a:p>
            <a:r>
              <a:rPr lang="en-US">
                <a:solidFill>
                  <a:srgbClr val="75EC9E"/>
                </a:solidFill>
              </a:rPr>
              <a:t>SELECTION CRITERIA</a:t>
            </a:r>
            <a:endParaRPr lang="de-DE">
              <a:solidFill>
                <a:srgbClr val="75EC9E"/>
              </a:solidFill>
            </a:endParaRPr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4871D16F-FFBE-F164-CFC9-7530268F4999}"/>
              </a:ext>
            </a:extLst>
          </p:cNvPr>
          <p:cNvCxnSpPr>
            <a:cxnSpLocks/>
          </p:cNvCxnSpPr>
          <p:nvPr/>
        </p:nvCxnSpPr>
        <p:spPr>
          <a:xfrm flipH="1" flipV="1">
            <a:off x="7094251" y="468948"/>
            <a:ext cx="2395040" cy="10984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832048-480C-6CB4-77B5-C1F3C42724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969835"/>
            <a:ext cx="5486399" cy="3688569"/>
          </a:xfrm>
        </p:spPr>
        <p:txBody>
          <a:bodyPr>
            <a:noAutofit/>
          </a:bodyPr>
          <a:lstStyle/>
          <a:p>
            <a:r>
              <a:rPr lang="en-US"/>
              <a:t>Previous </a:t>
            </a:r>
            <a:r>
              <a:rPr lang="en-US" b="1"/>
              <a:t>career</a:t>
            </a:r>
            <a:r>
              <a:rPr lang="en-US"/>
              <a:t> and </a:t>
            </a:r>
            <a:r>
              <a:rPr lang="en-US" b="1"/>
              <a:t>leadership potential </a:t>
            </a:r>
          </a:p>
          <a:p>
            <a:r>
              <a:rPr lang="en-US"/>
              <a:t>Significance of the fellowship for further </a:t>
            </a:r>
            <a:r>
              <a:rPr lang="en-US" b="1"/>
              <a:t>career development </a:t>
            </a:r>
          </a:p>
          <a:p>
            <a:r>
              <a:rPr lang="en-US"/>
              <a:t>Potential to </a:t>
            </a:r>
            <a:r>
              <a:rPr lang="en-US" b="1"/>
              <a:t>build bridges </a:t>
            </a:r>
            <a:r>
              <a:rPr lang="en-US"/>
              <a:t>between home country and Germany </a:t>
            </a:r>
          </a:p>
          <a:p>
            <a:r>
              <a:rPr lang="en-US" b="1"/>
              <a:t>International outlook </a:t>
            </a:r>
            <a:r>
              <a:rPr lang="en-US"/>
              <a:t>and future role as an international leader</a:t>
            </a:r>
          </a:p>
          <a:p>
            <a:r>
              <a:rPr lang="en-US" b="1"/>
              <a:t>Existing knowledge</a:t>
            </a:r>
            <a:r>
              <a:rPr lang="en-US"/>
              <a:t> to help ensure success of the project</a:t>
            </a:r>
          </a:p>
          <a:p>
            <a:r>
              <a:rPr lang="en-US" b="1"/>
              <a:t>Relevance</a:t>
            </a:r>
            <a:r>
              <a:rPr lang="en-US"/>
              <a:t> of the project for the dialogue of modern societies</a:t>
            </a:r>
          </a:p>
          <a:p>
            <a:endParaRPr lang="en-US"/>
          </a:p>
          <a:p>
            <a:pPr marL="0" indent="0">
              <a:lnSpc>
                <a:spcPct val="100000"/>
              </a:lnSpc>
              <a:buNone/>
            </a:pPr>
            <a:endParaRPr lang="en-GB" altLang="de-DE"/>
          </a:p>
          <a:p>
            <a:pPr marL="0" indent="0">
              <a:lnSpc>
                <a:spcPct val="100000"/>
              </a:lnSpc>
              <a:buNone/>
            </a:pPr>
            <a:endParaRPr lang="en-GB" altLang="de-DE" b="1"/>
          </a:p>
          <a:p>
            <a:pPr marL="0" indent="0" eaLnBrk="1" hangingPunct="1">
              <a:lnSpc>
                <a:spcPct val="100000"/>
              </a:lnSpc>
              <a:buNone/>
            </a:pPr>
            <a:endParaRPr lang="de-DE" altLang="de-DE"/>
          </a:p>
        </p:txBody>
      </p: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5137B4CE-8095-E9BE-D21B-BD8786AD311A}"/>
              </a:ext>
            </a:extLst>
          </p:cNvPr>
          <p:cNvCxnSpPr>
            <a:cxnSpLocks/>
          </p:cNvCxnSpPr>
          <p:nvPr/>
        </p:nvCxnSpPr>
        <p:spPr>
          <a:xfrm flipH="1">
            <a:off x="9489290" y="0"/>
            <a:ext cx="893861" cy="578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C338F58A-11CE-1FEE-C052-41F877C563C3}"/>
              </a:ext>
            </a:extLst>
          </p:cNvPr>
          <p:cNvSpPr/>
          <p:nvPr/>
        </p:nvSpPr>
        <p:spPr>
          <a:xfrm>
            <a:off x="7010116" y="385373"/>
            <a:ext cx="178130" cy="1781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1F6B464D-0423-3775-E5C2-EAE26E9FF14F}"/>
              </a:ext>
            </a:extLst>
          </p:cNvPr>
          <p:cNvCxnSpPr>
            <a:cxnSpLocks/>
          </p:cNvCxnSpPr>
          <p:nvPr/>
        </p:nvCxnSpPr>
        <p:spPr>
          <a:xfrm flipH="1">
            <a:off x="8357488" y="599332"/>
            <a:ext cx="1107577" cy="510897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6D58B2B5-8C19-D5A2-83E4-A25BC1AAB20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518453" y="6263375"/>
            <a:ext cx="527219" cy="527219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8DF84943-11B2-4E2C-1164-72813CE48A76}"/>
              </a:ext>
            </a:extLst>
          </p:cNvPr>
          <p:cNvSpPr/>
          <p:nvPr/>
        </p:nvSpPr>
        <p:spPr>
          <a:xfrm>
            <a:off x="9269597" y="373883"/>
            <a:ext cx="439387" cy="4393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13AA379-EE9E-A952-C16B-C02FF8463AE6}"/>
              </a:ext>
            </a:extLst>
          </p:cNvPr>
          <p:cNvSpPr/>
          <p:nvPr/>
        </p:nvSpPr>
        <p:spPr>
          <a:xfrm rot="16805778">
            <a:off x="8256549" y="1009290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95D9076-9059-5403-DAB5-EFE03673A45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562" r="33523" b="27952"/>
          <a:stretch/>
        </p:blipFill>
        <p:spPr>
          <a:xfrm>
            <a:off x="6785179" y="1283896"/>
            <a:ext cx="4756106" cy="497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1202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C0C8D22-98FA-3239-33F1-51C3431EAF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562" r="20562" b="19124"/>
          <a:stretch/>
        </p:blipFill>
        <p:spPr>
          <a:xfrm>
            <a:off x="5946922" y="993158"/>
            <a:ext cx="6098750" cy="5584373"/>
          </a:xfrm>
          <a:prstGeom prst="rect">
            <a:avLst/>
          </a:prstGeom>
        </p:spPr>
      </p:pic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9DFCA1E-A1BA-2EAA-B131-A8D27D2F727D}"/>
              </a:ext>
            </a:extLst>
          </p:cNvPr>
          <p:cNvCxnSpPr>
            <a:cxnSpLocks/>
          </p:cNvCxnSpPr>
          <p:nvPr/>
        </p:nvCxnSpPr>
        <p:spPr>
          <a:xfrm>
            <a:off x="6785179" y="-867508"/>
            <a:ext cx="313950" cy="131591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E952DE8A-1F1F-DC19-36BB-7781811B70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148" y="627790"/>
            <a:ext cx="4756106" cy="999628"/>
          </a:xfrm>
        </p:spPr>
        <p:txBody>
          <a:bodyPr>
            <a:noAutofit/>
          </a:bodyPr>
          <a:lstStyle/>
          <a:p>
            <a:r>
              <a:rPr lang="en-GB"/>
              <a:t>ADVICE ON FINDING A HOST</a:t>
            </a:r>
            <a:endParaRPr lang="de-DE">
              <a:solidFill>
                <a:srgbClr val="75EC9E"/>
              </a:solidFill>
            </a:endParaRPr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4871D16F-FFBE-F164-CFC9-7530268F4999}"/>
              </a:ext>
            </a:extLst>
          </p:cNvPr>
          <p:cNvCxnSpPr>
            <a:cxnSpLocks/>
          </p:cNvCxnSpPr>
          <p:nvPr/>
        </p:nvCxnSpPr>
        <p:spPr>
          <a:xfrm flipH="1" flipV="1">
            <a:off x="7094251" y="468948"/>
            <a:ext cx="2395040" cy="10984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832048-480C-6CB4-77B5-C1F3C42724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957779"/>
            <a:ext cx="4848921" cy="4305596"/>
          </a:xfrm>
        </p:spPr>
        <p:txBody>
          <a:bodyPr>
            <a:noAutofit/>
          </a:bodyPr>
          <a:lstStyle/>
          <a:p>
            <a:r>
              <a:rPr lang="en-US" sz="1800"/>
              <a:t>Anyone who works for a public or private institution in Germany can be a host.</a:t>
            </a:r>
          </a:p>
          <a:p>
            <a:r>
              <a:rPr lang="en-US" sz="1800"/>
              <a:t>The host must have a discipline-related or professional link to the project.</a:t>
            </a:r>
            <a:endParaRPr lang="de-DE" sz="1800"/>
          </a:p>
          <a:p>
            <a:r>
              <a:rPr lang="en-US" sz="1800"/>
              <a:t>Applicants should start their search for a host as early as possible!</a:t>
            </a:r>
          </a:p>
          <a:p>
            <a:r>
              <a:rPr lang="en-US" sz="1800"/>
              <a:t>Sources of assistance with the search </a:t>
            </a:r>
            <a:br>
              <a:rPr lang="en-US" sz="1800"/>
            </a:br>
            <a:r>
              <a:rPr lang="en-US" sz="1800"/>
              <a:t>for a host:</a:t>
            </a:r>
          </a:p>
          <a:p>
            <a:pPr lvl="1">
              <a:buFont typeface="Symbol" pitchFamily="2" charset="2"/>
              <a:buChar char="-"/>
            </a:pPr>
            <a:r>
              <a:rPr lang="en-GB" altLang="de-DE" sz="1600" err="1"/>
              <a:t>www.humboldt-foundation.de</a:t>
            </a:r>
            <a:r>
              <a:rPr lang="en-GB" altLang="de-DE" sz="1600"/>
              <a:t>/</a:t>
            </a:r>
            <a:r>
              <a:rPr lang="en-GB" altLang="de-DE" sz="1600" err="1"/>
              <a:t>youngleaders</a:t>
            </a:r>
            <a:endParaRPr lang="en-GB" altLang="de-DE" sz="1600"/>
          </a:p>
          <a:p>
            <a:pPr lvl="1">
              <a:buFont typeface="Symbol" pitchFamily="2" charset="2"/>
              <a:buChar char="-"/>
            </a:pPr>
            <a:r>
              <a:rPr lang="en-US" sz="1600"/>
              <a:t>Alumni associations of German </a:t>
            </a:r>
            <a:br>
              <a:rPr lang="en-US" sz="1600"/>
            </a:br>
            <a:r>
              <a:rPr lang="en-US" sz="1600"/>
              <a:t>Chancellor Fellows</a:t>
            </a:r>
          </a:p>
          <a:p>
            <a:pPr lvl="1">
              <a:buFont typeface="Symbol" pitchFamily="2" charset="2"/>
              <a:buChar char="-"/>
            </a:pPr>
            <a:r>
              <a:rPr lang="en-US" sz="1600"/>
              <a:t>German companies and </a:t>
            </a:r>
            <a:r>
              <a:rPr lang="en-US" sz="1600" err="1"/>
              <a:t>organisations</a:t>
            </a:r>
            <a:r>
              <a:rPr lang="en-US" sz="1600"/>
              <a:t> in the </a:t>
            </a:r>
            <a:r>
              <a:rPr lang="en-US" sz="1600" err="1"/>
              <a:t>programme</a:t>
            </a:r>
            <a:r>
              <a:rPr lang="en-US" sz="1600"/>
              <a:t> countries</a:t>
            </a:r>
            <a:endParaRPr lang="de-DE" altLang="de-DE" sz="1600"/>
          </a:p>
        </p:txBody>
      </p: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5137B4CE-8095-E9BE-D21B-BD8786AD311A}"/>
              </a:ext>
            </a:extLst>
          </p:cNvPr>
          <p:cNvCxnSpPr>
            <a:cxnSpLocks/>
          </p:cNvCxnSpPr>
          <p:nvPr/>
        </p:nvCxnSpPr>
        <p:spPr>
          <a:xfrm flipH="1">
            <a:off x="9489290" y="0"/>
            <a:ext cx="893861" cy="578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C338F58A-11CE-1FEE-C052-41F877C563C3}"/>
              </a:ext>
            </a:extLst>
          </p:cNvPr>
          <p:cNvSpPr/>
          <p:nvPr/>
        </p:nvSpPr>
        <p:spPr>
          <a:xfrm>
            <a:off x="7010116" y="385373"/>
            <a:ext cx="178130" cy="1781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1F6B464D-0423-3775-E5C2-EAE26E9FF14F}"/>
              </a:ext>
            </a:extLst>
          </p:cNvPr>
          <p:cNvCxnSpPr>
            <a:cxnSpLocks/>
          </p:cNvCxnSpPr>
          <p:nvPr/>
        </p:nvCxnSpPr>
        <p:spPr>
          <a:xfrm flipH="1">
            <a:off x="8357488" y="599332"/>
            <a:ext cx="1107577" cy="510897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6D58B2B5-8C19-D5A2-83E4-A25BC1AAB20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18453" y="6263375"/>
            <a:ext cx="527219" cy="527219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8DF84943-11B2-4E2C-1164-72813CE48A76}"/>
              </a:ext>
            </a:extLst>
          </p:cNvPr>
          <p:cNvSpPr/>
          <p:nvPr/>
        </p:nvSpPr>
        <p:spPr>
          <a:xfrm>
            <a:off x="9269597" y="373883"/>
            <a:ext cx="439387" cy="4393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13AA379-EE9E-A952-C16B-C02FF8463AE6}"/>
              </a:ext>
            </a:extLst>
          </p:cNvPr>
          <p:cNvSpPr/>
          <p:nvPr/>
        </p:nvSpPr>
        <p:spPr>
          <a:xfrm rot="16805778">
            <a:off x="8256549" y="1009290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51705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8C1A2F19-1807-D34A-FA06-5A5C01DC2412}"/>
              </a:ext>
            </a:extLst>
          </p:cNvPr>
          <p:cNvSpPr txBox="1">
            <a:spLocks/>
          </p:cNvSpPr>
          <p:nvPr/>
        </p:nvSpPr>
        <p:spPr>
          <a:xfrm>
            <a:off x="1647093" y="249197"/>
            <a:ext cx="9301222" cy="56360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de-DE"/>
              <a:t>TIMELIN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B2B4CD8-AD8D-9AB1-6B08-8A74ADED7ED6}"/>
              </a:ext>
            </a:extLst>
          </p:cNvPr>
          <p:cNvSpPr/>
          <p:nvPr/>
        </p:nvSpPr>
        <p:spPr>
          <a:xfrm>
            <a:off x="10872502" y="1923254"/>
            <a:ext cx="439387" cy="4393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EAF507D-EC30-9EC1-0670-D414D1CCD077}"/>
              </a:ext>
            </a:extLst>
          </p:cNvPr>
          <p:cNvSpPr/>
          <p:nvPr/>
        </p:nvSpPr>
        <p:spPr>
          <a:xfrm>
            <a:off x="11733468" y="2623594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6B8D1E6-5CDF-4416-F24D-1A4A17C741DB}"/>
              </a:ext>
            </a:extLst>
          </p:cNvPr>
          <p:cNvSpPr/>
          <p:nvPr/>
        </p:nvSpPr>
        <p:spPr>
          <a:xfrm>
            <a:off x="11131037" y="411897"/>
            <a:ext cx="180852" cy="18085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60B783B-898E-485C-373A-95F1A01E7F69}"/>
              </a:ext>
            </a:extLst>
          </p:cNvPr>
          <p:cNvSpPr/>
          <p:nvPr/>
        </p:nvSpPr>
        <p:spPr>
          <a:xfrm>
            <a:off x="10238767" y="3250870"/>
            <a:ext cx="178130" cy="1781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632EE884-7971-8E33-8E20-518EF21C4BC6}"/>
              </a:ext>
            </a:extLst>
          </p:cNvPr>
          <p:cNvCxnSpPr>
            <a:cxnSpLocks/>
            <a:stCxn id="14" idx="4"/>
            <a:endCxn id="12" idx="0"/>
          </p:cNvCxnSpPr>
          <p:nvPr/>
        </p:nvCxnSpPr>
        <p:spPr>
          <a:xfrm flipH="1">
            <a:off x="11092196" y="592749"/>
            <a:ext cx="129267" cy="133050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639DD5E1-45AC-6136-F363-05F53BF5A2BE}"/>
              </a:ext>
            </a:extLst>
          </p:cNvPr>
          <p:cNvCxnSpPr>
            <a:cxnSpLocks/>
            <a:stCxn id="13" idx="1"/>
            <a:endCxn id="12" idx="5"/>
          </p:cNvCxnSpPr>
          <p:nvPr/>
        </p:nvCxnSpPr>
        <p:spPr>
          <a:xfrm flipH="1" flipV="1">
            <a:off x="11247542" y="2298294"/>
            <a:ext cx="515491" cy="3548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12A1534D-F1BD-2F1D-B598-5323952A8EA3}"/>
              </a:ext>
            </a:extLst>
          </p:cNvPr>
          <p:cNvCxnSpPr>
            <a:cxnSpLocks/>
            <a:stCxn id="12" idx="3"/>
            <a:endCxn id="15" idx="7"/>
          </p:cNvCxnSpPr>
          <p:nvPr/>
        </p:nvCxnSpPr>
        <p:spPr>
          <a:xfrm flipH="1">
            <a:off x="10390810" y="2298294"/>
            <a:ext cx="546039" cy="9786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94F1042B-514B-30C3-BA59-078BDACC7CAB}"/>
              </a:ext>
            </a:extLst>
          </p:cNvPr>
          <p:cNvCxnSpPr>
            <a:cxnSpLocks/>
            <a:endCxn id="14" idx="7"/>
          </p:cNvCxnSpPr>
          <p:nvPr/>
        </p:nvCxnSpPr>
        <p:spPr>
          <a:xfrm flipH="1">
            <a:off x="11285404" y="238760"/>
            <a:ext cx="927674" cy="1996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2E134AD6-E629-1319-9E1A-ACFCBAB94ECF}"/>
              </a:ext>
            </a:extLst>
          </p:cNvPr>
          <p:cNvCxnSpPr>
            <a:cxnSpLocks/>
            <a:endCxn id="13" idx="6"/>
          </p:cNvCxnSpPr>
          <p:nvPr/>
        </p:nvCxnSpPr>
        <p:spPr>
          <a:xfrm flipH="1">
            <a:off x="11935348" y="2623594"/>
            <a:ext cx="256652" cy="1009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>
            <a:extLst>
              <a:ext uri="{FF2B5EF4-FFF2-40B4-BE49-F238E27FC236}">
                <a16:creationId xmlns:a16="http://schemas.microsoft.com/office/drawing/2014/main" id="{F6B66A81-B774-ADAA-DDE6-1D1D3D5A3DB1}"/>
              </a:ext>
            </a:extLst>
          </p:cNvPr>
          <p:cNvSpPr/>
          <p:nvPr/>
        </p:nvSpPr>
        <p:spPr bwMode="auto">
          <a:xfrm>
            <a:off x="2823098" y="1077095"/>
            <a:ext cx="5769843" cy="1781175"/>
          </a:xfrm>
          <a:prstGeom prst="rect">
            <a:avLst/>
          </a:prstGeom>
          <a:solidFill>
            <a:srgbClr val="E9EF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endParaRPr lang="de-DE" sz="1200">
              <a:solidFill>
                <a:srgbClr val="000000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7BCF667-8C3F-3D21-182C-F8883EC5180C}"/>
              </a:ext>
            </a:extLst>
          </p:cNvPr>
          <p:cNvSpPr/>
          <p:nvPr/>
        </p:nvSpPr>
        <p:spPr bwMode="auto">
          <a:xfrm>
            <a:off x="2823098" y="2953521"/>
            <a:ext cx="5769844" cy="3314700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endParaRPr lang="de-DE" sz="1200" noProof="1">
              <a:solidFill>
                <a:srgbClr val="000000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E40209A-80EF-915C-3659-34D15CC6769A}"/>
              </a:ext>
            </a:extLst>
          </p:cNvPr>
          <p:cNvSpPr txBox="1"/>
          <p:nvPr/>
        </p:nvSpPr>
        <p:spPr>
          <a:xfrm>
            <a:off x="2887467" y="1198300"/>
            <a:ext cx="1143000" cy="430887"/>
          </a:xfrm>
          <a:prstGeom prst="rect">
            <a:avLst/>
          </a:prstGeom>
          <a:solidFill>
            <a:srgbClr val="E9EFEF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50" b="1" err="1">
                <a:solidFill>
                  <a:schemeClr val="tx2"/>
                </a:solidFill>
              </a:rPr>
              <a:t>Application</a:t>
            </a:r>
            <a:r>
              <a:rPr lang="de-DE" sz="1050" b="1">
                <a:solidFill>
                  <a:schemeClr val="tx2"/>
                </a:solidFill>
              </a:rPr>
              <a:t> </a:t>
            </a:r>
            <a:r>
              <a:rPr lang="de-DE" sz="1050" b="1" err="1">
                <a:solidFill>
                  <a:schemeClr val="tx2"/>
                </a:solidFill>
              </a:rPr>
              <a:t>procedure</a:t>
            </a:r>
            <a:endParaRPr lang="de-DE" sz="1050" b="1">
              <a:solidFill>
                <a:schemeClr val="tx2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4359848-B6AE-1D86-5A3B-51B47DF2C1BA}"/>
              </a:ext>
            </a:extLst>
          </p:cNvPr>
          <p:cNvSpPr txBox="1"/>
          <p:nvPr/>
        </p:nvSpPr>
        <p:spPr>
          <a:xfrm>
            <a:off x="2887466" y="3098362"/>
            <a:ext cx="1143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50" b="1">
                <a:solidFill>
                  <a:schemeClr val="tx2"/>
                </a:solidFill>
              </a:rPr>
              <a:t>Fellowship</a:t>
            </a:r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8AC14AFC-69BA-0839-5010-50DB00CB9D34}"/>
              </a:ext>
            </a:extLst>
          </p:cNvPr>
          <p:cNvSpPr/>
          <p:nvPr/>
        </p:nvSpPr>
        <p:spPr bwMode="auto">
          <a:xfrm>
            <a:off x="4767315" y="1198301"/>
            <a:ext cx="2952750" cy="461665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50" b="1">
                <a:solidFill>
                  <a:srgbClr val="000000"/>
                </a:solidFill>
              </a:rPr>
              <a:t>Call</a:t>
            </a:r>
          </a:p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>
                <a:solidFill>
                  <a:srgbClr val="000000"/>
                </a:solidFill>
              </a:rPr>
              <a:t>15 March 2023</a:t>
            </a:r>
          </a:p>
        </p:txBody>
      </p:sp>
      <p:sp>
        <p:nvSpPr>
          <p:cNvPr id="21" name="Abgerundetes Rechteck 20">
            <a:extLst>
              <a:ext uri="{FF2B5EF4-FFF2-40B4-BE49-F238E27FC236}">
                <a16:creationId xmlns:a16="http://schemas.microsoft.com/office/drawing/2014/main" id="{56AC51FF-6E69-1847-1F04-AD7FBDAF47CC}"/>
              </a:ext>
            </a:extLst>
          </p:cNvPr>
          <p:cNvSpPr/>
          <p:nvPr/>
        </p:nvSpPr>
        <p:spPr bwMode="auto">
          <a:xfrm>
            <a:off x="4767315" y="1745689"/>
            <a:ext cx="2952750" cy="438151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50" b="1" err="1">
                <a:solidFill>
                  <a:srgbClr val="000000"/>
                </a:solidFill>
              </a:rPr>
              <a:t>Application</a:t>
            </a:r>
            <a:r>
              <a:rPr lang="de-DE" sz="1050" b="1">
                <a:solidFill>
                  <a:srgbClr val="000000"/>
                </a:solidFill>
              </a:rPr>
              <a:t> </a:t>
            </a:r>
            <a:r>
              <a:rPr lang="de-DE" sz="1050" b="1" err="1">
                <a:solidFill>
                  <a:srgbClr val="000000"/>
                </a:solidFill>
              </a:rPr>
              <a:t>deadline</a:t>
            </a:r>
            <a:endParaRPr lang="de-DE" sz="1050" b="1">
              <a:solidFill>
                <a:srgbClr val="000000"/>
              </a:solidFill>
            </a:endParaRPr>
          </a:p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>
                <a:solidFill>
                  <a:srgbClr val="000000"/>
                </a:solidFill>
              </a:rPr>
              <a:t>15 </a:t>
            </a:r>
            <a:r>
              <a:rPr lang="de-DE" sz="900" err="1">
                <a:solidFill>
                  <a:srgbClr val="000000"/>
                </a:solidFill>
              </a:rPr>
              <a:t>October</a:t>
            </a:r>
            <a:r>
              <a:rPr lang="de-DE" sz="900">
                <a:solidFill>
                  <a:srgbClr val="000000"/>
                </a:solidFill>
              </a:rPr>
              <a:t> 2023</a:t>
            </a:r>
          </a:p>
        </p:txBody>
      </p:sp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55742679-460F-DA4C-EEB4-79A506D8D5A8}"/>
              </a:ext>
            </a:extLst>
          </p:cNvPr>
          <p:cNvSpPr/>
          <p:nvPr/>
        </p:nvSpPr>
        <p:spPr bwMode="auto">
          <a:xfrm>
            <a:off x="4767315" y="2295909"/>
            <a:ext cx="2952750" cy="428625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50" b="1" err="1">
                <a:solidFill>
                  <a:srgbClr val="000000"/>
                </a:solidFill>
              </a:rPr>
              <a:t>Selection</a:t>
            </a:r>
            <a:r>
              <a:rPr lang="de-DE" sz="1050" b="1">
                <a:solidFill>
                  <a:srgbClr val="000000"/>
                </a:solidFill>
              </a:rPr>
              <a:t> </a:t>
            </a:r>
            <a:r>
              <a:rPr lang="de-DE" sz="1050" b="1" err="1">
                <a:solidFill>
                  <a:srgbClr val="000000"/>
                </a:solidFill>
              </a:rPr>
              <a:t>meeting</a:t>
            </a:r>
            <a:endParaRPr lang="de-DE" sz="1050" b="1">
              <a:solidFill>
                <a:srgbClr val="000000"/>
              </a:solidFill>
            </a:endParaRPr>
          </a:p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>
                <a:solidFill>
                  <a:srgbClr val="000000"/>
                </a:solidFill>
              </a:rPr>
              <a:t>Spring 2024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F7F737F-16B7-66EF-DB23-93BC13210730}"/>
              </a:ext>
            </a:extLst>
          </p:cNvPr>
          <p:cNvSpPr/>
          <p:nvPr/>
        </p:nvSpPr>
        <p:spPr bwMode="auto">
          <a:xfrm>
            <a:off x="3273228" y="4031921"/>
            <a:ext cx="371475" cy="211017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 b="1">
                <a:solidFill>
                  <a:schemeClr val="bg1">
                    <a:lumMod val="50000"/>
                  </a:schemeClr>
                </a:solidFill>
              </a:rPr>
              <a:t>Time </a:t>
            </a:r>
            <a:r>
              <a:rPr lang="de-DE" sz="900" b="1" err="1">
                <a:solidFill>
                  <a:schemeClr val="bg1">
                    <a:lumMod val="50000"/>
                  </a:schemeClr>
                </a:solidFill>
              </a:rPr>
              <a:t>frame</a:t>
            </a:r>
            <a:r>
              <a:rPr lang="de-DE" sz="900" b="1">
                <a:solidFill>
                  <a:schemeClr val="bg1">
                    <a:lumMod val="50000"/>
                  </a:schemeClr>
                </a:solidFill>
              </a:rPr>
              <a:t>:</a:t>
            </a:r>
          </a:p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 b="1">
                <a:solidFill>
                  <a:schemeClr val="bg1">
                    <a:lumMod val="50000"/>
                  </a:schemeClr>
                </a:solidFill>
              </a:rPr>
              <a:t>1 August 20224– 31 March 2026</a:t>
            </a:r>
          </a:p>
        </p:txBody>
      </p:sp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5FEE8848-8A35-2895-4A01-BA19BCDC6A0B}"/>
              </a:ext>
            </a:extLst>
          </p:cNvPr>
          <p:cNvSpPr/>
          <p:nvPr/>
        </p:nvSpPr>
        <p:spPr bwMode="auto">
          <a:xfrm>
            <a:off x="3903219" y="3133722"/>
            <a:ext cx="2209802" cy="229372"/>
          </a:xfrm>
          <a:prstGeom prst="roundRect">
            <a:avLst/>
          </a:prstGeom>
          <a:solidFill>
            <a:srgbClr val="75EC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00" b="1"/>
              <a:t>Individual </a:t>
            </a:r>
            <a:r>
              <a:rPr lang="de-DE" sz="1000" b="1" err="1"/>
              <a:t>trajectory</a:t>
            </a:r>
            <a:r>
              <a:rPr lang="de-DE" sz="1000" b="1"/>
              <a:t>:</a:t>
            </a: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9CD9AB2B-B808-CDE7-6C66-01AFA3DF4CBB}"/>
              </a:ext>
            </a:extLst>
          </p:cNvPr>
          <p:cNvSpPr/>
          <p:nvPr/>
        </p:nvSpPr>
        <p:spPr bwMode="auto">
          <a:xfrm>
            <a:off x="6281439" y="3133719"/>
            <a:ext cx="2124071" cy="229373"/>
          </a:xfrm>
          <a:prstGeom prst="roundRect">
            <a:avLst/>
          </a:prstGeom>
          <a:solidFill>
            <a:srgbClr val="75EC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00" b="1" err="1"/>
              <a:t>Cohort</a:t>
            </a:r>
            <a:r>
              <a:rPr lang="de-DE" sz="1000" b="1"/>
              <a:t> </a:t>
            </a:r>
            <a:r>
              <a:rPr lang="de-DE" sz="1000" b="1" err="1"/>
              <a:t>activities</a:t>
            </a:r>
            <a:r>
              <a:rPr lang="de-DE" sz="1000" b="1"/>
              <a:t>:</a:t>
            </a:r>
          </a:p>
        </p:txBody>
      </p:sp>
      <p:sp>
        <p:nvSpPr>
          <p:cNvPr id="26" name="Abgerundetes Rechteck 25">
            <a:extLst>
              <a:ext uri="{FF2B5EF4-FFF2-40B4-BE49-F238E27FC236}">
                <a16:creationId xmlns:a16="http://schemas.microsoft.com/office/drawing/2014/main" id="{CEC9FF2F-2523-FD80-59C7-3980BE5AE0AF}"/>
              </a:ext>
            </a:extLst>
          </p:cNvPr>
          <p:cNvSpPr/>
          <p:nvPr/>
        </p:nvSpPr>
        <p:spPr bwMode="auto">
          <a:xfrm>
            <a:off x="5099167" y="3467620"/>
            <a:ext cx="2209803" cy="650574"/>
          </a:xfrm>
          <a:prstGeom prst="roundRect">
            <a:avLst/>
          </a:prstGeom>
          <a:solidFill>
            <a:srgbClr val="75EC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50" b="1"/>
              <a:t>German </a:t>
            </a:r>
            <a:r>
              <a:rPr lang="de-DE" sz="1050" b="1" err="1"/>
              <a:t>language</a:t>
            </a:r>
            <a:r>
              <a:rPr lang="de-DE" sz="1050" b="1"/>
              <a:t> </a:t>
            </a:r>
            <a:r>
              <a:rPr lang="de-DE" sz="1050" b="1" err="1"/>
              <a:t>course</a:t>
            </a:r>
            <a:endParaRPr lang="de-DE" sz="1050" b="1"/>
          </a:p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 err="1"/>
              <a:t>up</a:t>
            </a:r>
            <a:r>
              <a:rPr lang="de-DE" sz="900"/>
              <a:t> </a:t>
            </a:r>
            <a:r>
              <a:rPr lang="de-DE" sz="900" err="1"/>
              <a:t>to</a:t>
            </a:r>
            <a:r>
              <a:rPr lang="de-DE" sz="900"/>
              <a:t> 3 </a:t>
            </a:r>
            <a:r>
              <a:rPr lang="de-DE" sz="900" err="1"/>
              <a:t>months</a:t>
            </a:r>
            <a:endParaRPr lang="de-DE" sz="900"/>
          </a:p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/>
              <a:t>Recommended: </a:t>
            </a:r>
            <a:r>
              <a:rPr lang="de-DE" sz="900" err="1"/>
              <a:t>July</a:t>
            </a:r>
            <a:r>
              <a:rPr lang="de-DE" sz="900"/>
              <a:t>-September 2024</a:t>
            </a:r>
          </a:p>
        </p:txBody>
      </p:sp>
      <p:sp>
        <p:nvSpPr>
          <p:cNvPr id="27" name="Abgerundetes Rechteck 26">
            <a:extLst>
              <a:ext uri="{FF2B5EF4-FFF2-40B4-BE49-F238E27FC236}">
                <a16:creationId xmlns:a16="http://schemas.microsoft.com/office/drawing/2014/main" id="{7A7A518B-33AE-C61D-BA40-AE37A496245A}"/>
              </a:ext>
            </a:extLst>
          </p:cNvPr>
          <p:cNvSpPr/>
          <p:nvPr/>
        </p:nvSpPr>
        <p:spPr bwMode="auto">
          <a:xfrm>
            <a:off x="3912746" y="4258445"/>
            <a:ext cx="2200275" cy="1837327"/>
          </a:xfrm>
          <a:prstGeom prst="roundRect">
            <a:avLst/>
          </a:prstGeom>
          <a:solidFill>
            <a:srgbClr val="75EC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50" b="1"/>
              <a:t>Individual Project</a:t>
            </a:r>
          </a:p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/>
              <a:t>12 </a:t>
            </a:r>
            <a:r>
              <a:rPr lang="de-DE" sz="900" err="1"/>
              <a:t>Months</a:t>
            </a:r>
            <a:endParaRPr lang="de-DE" sz="900"/>
          </a:p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/>
              <a:t>Regular </a:t>
            </a:r>
            <a:r>
              <a:rPr lang="de-DE" sz="900" err="1"/>
              <a:t>starting</a:t>
            </a:r>
            <a:r>
              <a:rPr lang="de-DE" sz="900"/>
              <a:t> date: 1 </a:t>
            </a:r>
            <a:r>
              <a:rPr lang="de-DE" sz="900" err="1"/>
              <a:t>October</a:t>
            </a:r>
            <a:r>
              <a:rPr lang="de-DE" sz="900"/>
              <a:t> 2024</a:t>
            </a:r>
          </a:p>
        </p:txBody>
      </p: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EB05D20B-CAF3-4119-89B0-44545DE20A32}"/>
              </a:ext>
            </a:extLst>
          </p:cNvPr>
          <p:cNvSpPr/>
          <p:nvPr/>
        </p:nvSpPr>
        <p:spPr bwMode="auto">
          <a:xfrm>
            <a:off x="6281442" y="4330515"/>
            <a:ext cx="2124074" cy="457200"/>
          </a:xfrm>
          <a:prstGeom prst="roundRect">
            <a:avLst/>
          </a:prstGeom>
          <a:solidFill>
            <a:srgbClr val="75EC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50" b="1" err="1"/>
              <a:t>Opening</a:t>
            </a:r>
            <a:r>
              <a:rPr lang="de-DE" sz="1050" b="1"/>
              <a:t> Conference </a:t>
            </a:r>
            <a:r>
              <a:rPr lang="de-DE" sz="1050"/>
              <a:t>(1 </a:t>
            </a:r>
            <a:r>
              <a:rPr lang="de-DE" sz="1050" err="1"/>
              <a:t>week</a:t>
            </a:r>
            <a:r>
              <a:rPr lang="de-DE" sz="1050"/>
              <a:t>)</a:t>
            </a:r>
          </a:p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/>
              <a:t>November 2024</a:t>
            </a:r>
          </a:p>
        </p:txBody>
      </p: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D0F82AC0-95A6-70C1-7391-AE0C3496332E}"/>
              </a:ext>
            </a:extLst>
          </p:cNvPr>
          <p:cNvSpPr/>
          <p:nvPr/>
        </p:nvSpPr>
        <p:spPr bwMode="auto">
          <a:xfrm>
            <a:off x="6281438" y="4950005"/>
            <a:ext cx="2124072" cy="466725"/>
          </a:xfrm>
          <a:prstGeom prst="roundRect">
            <a:avLst/>
          </a:prstGeom>
          <a:solidFill>
            <a:srgbClr val="75EC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50" b="1"/>
              <a:t>Half-Time Retreat </a:t>
            </a:r>
            <a:r>
              <a:rPr lang="de-DE" sz="1050"/>
              <a:t>(1 </a:t>
            </a:r>
            <a:r>
              <a:rPr lang="de-DE" sz="1050" err="1"/>
              <a:t>week</a:t>
            </a:r>
            <a:r>
              <a:rPr lang="de-DE" sz="1050"/>
              <a:t>)</a:t>
            </a:r>
          </a:p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/>
              <a:t>Spring 2025</a:t>
            </a:r>
          </a:p>
        </p:txBody>
      </p:sp>
      <p:sp>
        <p:nvSpPr>
          <p:cNvPr id="30" name="Abgerundetes Rechteck 29">
            <a:extLst>
              <a:ext uri="{FF2B5EF4-FFF2-40B4-BE49-F238E27FC236}">
                <a16:creationId xmlns:a16="http://schemas.microsoft.com/office/drawing/2014/main" id="{E9BE22EB-9871-02AC-7906-84B873B08449}"/>
              </a:ext>
            </a:extLst>
          </p:cNvPr>
          <p:cNvSpPr/>
          <p:nvPr/>
        </p:nvSpPr>
        <p:spPr bwMode="auto">
          <a:xfrm>
            <a:off x="6281443" y="5575327"/>
            <a:ext cx="2124073" cy="490538"/>
          </a:xfrm>
          <a:prstGeom prst="roundRect">
            <a:avLst/>
          </a:prstGeom>
          <a:solidFill>
            <a:srgbClr val="75EC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1050" b="1"/>
              <a:t>Berlin Meeting </a:t>
            </a:r>
            <a:r>
              <a:rPr lang="de-DE" sz="1050"/>
              <a:t>(3 </a:t>
            </a:r>
            <a:r>
              <a:rPr lang="de-DE" sz="1050" err="1"/>
              <a:t>days</a:t>
            </a:r>
            <a:r>
              <a:rPr lang="de-DE" sz="1050"/>
              <a:t>)</a:t>
            </a:r>
          </a:p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693C"/>
              </a:buClr>
            </a:pPr>
            <a:r>
              <a:rPr lang="de-DE" sz="900"/>
              <a:t>Summer 2025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F29C269C-0F9F-2352-D5F8-3EFB0374484B}"/>
              </a:ext>
            </a:extLst>
          </p:cNvPr>
          <p:cNvCxnSpPr/>
          <p:nvPr/>
        </p:nvCxnSpPr>
        <p:spPr bwMode="auto">
          <a:xfrm>
            <a:off x="3713712" y="3980893"/>
            <a:ext cx="0" cy="2114880"/>
          </a:xfrm>
          <a:prstGeom prst="straightConnector1">
            <a:avLst/>
          </a:prstGeom>
          <a:solidFill>
            <a:schemeClr val="bg2"/>
          </a:solidFill>
          <a:ln w="44450" cap="flat" cmpd="sng" algn="ctr">
            <a:solidFill>
              <a:srgbClr val="75EC9E"/>
            </a:solidFill>
            <a:prstDash val="solid"/>
            <a:round/>
            <a:headEnd type="triangle" w="lg" len="sm"/>
            <a:tailEnd type="triangle" w="lg" len="sm"/>
          </a:ln>
          <a:effectLst/>
        </p:spPr>
      </p:cxnSp>
    </p:spTree>
    <p:extLst>
      <p:ext uri="{BB962C8B-B14F-4D97-AF65-F5344CB8AC3E}">
        <p14:creationId xmlns:p14="http://schemas.microsoft.com/office/powerpoint/2010/main" val="29579946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A8B280-CCBF-DAB5-7668-09B9A3969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630585"/>
            <a:ext cx="9852793" cy="1069975"/>
          </a:xfrm>
        </p:spPr>
        <p:txBody>
          <a:bodyPr>
            <a:noAutofit/>
          </a:bodyPr>
          <a:lstStyle/>
          <a:p>
            <a:r>
              <a:rPr lang="de-DE" sz="3600"/>
              <a:t>TESTIMONIALS… </a:t>
            </a:r>
            <a:endParaRPr lang="de-DE" sz="3600">
              <a:highlight>
                <a:srgbClr val="FFFF00"/>
              </a:highlight>
            </a:endParaRPr>
          </a:p>
        </p:txBody>
      </p:sp>
      <p:pic>
        <p:nvPicPr>
          <p:cNvPr id="6" name="Bildplatzhalter 5" descr="Ein Bild, das Text, Menschliches Gesicht, Screenshot, Lächeln enthält.&#10;&#10;Automatisch generierte Beschreibung">
            <a:extLst>
              <a:ext uri="{FF2B5EF4-FFF2-40B4-BE49-F238E27FC236}">
                <a16:creationId xmlns:a16="http://schemas.microsoft.com/office/drawing/2014/main" id="{420BCFC7-06FA-5FC3-5BCD-8860FF0DF1EA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1782" r="1782"/>
          <a:stretch>
            <a:fillRect/>
          </a:stretch>
        </p:blipFill>
        <p:spPr>
          <a:xfrm>
            <a:off x="3035299" y="1553076"/>
            <a:ext cx="8316913" cy="4873625"/>
          </a:xfrm>
        </p:spPr>
      </p:pic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709A52CE-1180-C6A1-3FC9-9CC076DBC75C}"/>
              </a:ext>
            </a:extLst>
          </p:cNvPr>
          <p:cNvSpPr txBox="1">
            <a:spLocks/>
          </p:cNvSpPr>
          <p:nvPr/>
        </p:nvSpPr>
        <p:spPr>
          <a:xfrm>
            <a:off x="839788" y="3087225"/>
            <a:ext cx="2179075" cy="18053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400"/>
              <a:t>…and more on our website and on </a:t>
            </a:r>
            <a:r>
              <a:rPr lang="en-US" sz="2400" err="1"/>
              <a:t>youtube</a:t>
            </a:r>
            <a:endParaRPr lang="de-DE" sz="2400"/>
          </a:p>
        </p:txBody>
      </p:sp>
    </p:spTree>
    <p:extLst>
      <p:ext uri="{BB962C8B-B14F-4D97-AF65-F5344CB8AC3E}">
        <p14:creationId xmlns:p14="http://schemas.microsoft.com/office/powerpoint/2010/main" val="29870420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F21113-C15F-5931-CA81-7530B484C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8219" y="681037"/>
            <a:ext cx="4651144" cy="1325563"/>
          </a:xfrm>
        </p:spPr>
        <p:txBody>
          <a:bodyPr>
            <a:normAutofit/>
          </a:bodyPr>
          <a:lstStyle/>
          <a:p>
            <a:r>
              <a:rPr lang="de-DE" sz="4400"/>
              <a:t>THANK YOU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BB8BFF0-3780-8624-0B43-E252A7BE261E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570817" y="2529050"/>
            <a:ext cx="4996788" cy="3167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52000" bIns="25200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indent="45561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cs typeface="+mn-cs"/>
              </a:defRPr>
            </a:lvl2pPr>
            <a:lvl3pPr marL="257175" indent="-2540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●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523875" indent="-166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-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892175" indent="-1889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1349375" indent="-188913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1806575" indent="-188913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2263775" indent="-188913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2720975" indent="-188913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536575" indent="-84138" eaLnBrk="1" hangingPunct="1">
              <a:defRPr/>
            </a:pPr>
            <a:r>
              <a:rPr lang="de-DE" altLang="de-DE"/>
              <a:t>	</a:t>
            </a:r>
            <a:r>
              <a:rPr lang="de-DE" altLang="de-DE">
                <a:latin typeface="IBM Plex Sans" panose="020B0503050203000203" pitchFamily="34" charset="0"/>
              </a:rPr>
              <a:t>www.humboldt-foundation.de</a:t>
            </a:r>
            <a:br>
              <a:rPr lang="de-DE" altLang="de-DE">
                <a:latin typeface="IBM Plex Sans" panose="020B0503050203000203" pitchFamily="34" charset="0"/>
              </a:rPr>
            </a:br>
            <a:br>
              <a:rPr lang="de-DE" altLang="de-DE">
                <a:latin typeface="IBM Plex Sans" panose="020B0503050203000203" pitchFamily="34" charset="0"/>
              </a:rPr>
            </a:br>
            <a:r>
              <a:rPr lang="de-DE" altLang="de-DE">
                <a:latin typeface="IBM Plex Sans" panose="020B0503050203000203" pitchFamily="34" charset="0"/>
              </a:rPr>
              <a:t>i</a:t>
            </a:r>
            <a:r>
              <a:rPr lang="de-DE" altLang="de-DE">
                <a:solidFill>
                  <a:srgbClr val="292929"/>
                </a:solidFill>
                <a:latin typeface="IBM Plex Sans" panose="020B0503050203000203" pitchFamily="34" charset="0"/>
              </a:rPr>
              <a:t>nfo@avh.de</a:t>
            </a:r>
            <a:r>
              <a:rPr lang="de-DE" altLang="de-DE">
                <a:latin typeface="IBM Plex Sans" panose="020B0503050203000203" pitchFamily="34" charset="0"/>
              </a:rPr>
              <a:t>    </a:t>
            </a:r>
            <a:br>
              <a:rPr lang="de-DE" altLang="de-DE">
                <a:latin typeface="IBM Plex Sans" panose="020B0503050203000203" pitchFamily="34" charset="0"/>
              </a:rPr>
            </a:br>
            <a:r>
              <a:rPr lang="de-DE" altLang="de-DE">
                <a:latin typeface="IBM Plex Sans" panose="020B0503050203000203" pitchFamily="34" charset="0"/>
              </a:rPr>
              <a:t>         </a:t>
            </a:r>
            <a:br>
              <a:rPr lang="de-DE" altLang="de-DE">
                <a:latin typeface="IBM Plex Sans" panose="020B0503050203000203" pitchFamily="34" charset="0"/>
              </a:rPr>
            </a:br>
            <a:r>
              <a:rPr lang="de-DE" altLang="de-DE">
                <a:latin typeface="IBM Plex Sans" panose="020B0503050203000203" pitchFamily="34" charset="0"/>
              </a:rPr>
              <a:t>+49 228 833-0</a:t>
            </a:r>
          </a:p>
          <a:p>
            <a:pPr>
              <a:defRPr/>
            </a:pPr>
            <a:endParaRPr lang="de-DE" altLang="de-DE">
              <a:latin typeface="IBM Plex Sans" panose="020B0503050203000203" pitchFamily="34" charset="0"/>
            </a:endParaRPr>
          </a:p>
          <a:p>
            <a:pPr marL="536575" indent="-536575">
              <a:defRPr/>
            </a:pPr>
            <a:r>
              <a:rPr lang="de-DE" altLang="de-DE">
                <a:latin typeface="IBM Plex Sans" panose="020B0503050203000203" pitchFamily="34" charset="0"/>
              </a:rPr>
              <a:t>	@</a:t>
            </a:r>
            <a:r>
              <a:rPr lang="de-DE" altLang="de-DE" err="1">
                <a:latin typeface="IBM Plex Sans" panose="020B0503050203000203" pitchFamily="34" charset="0"/>
              </a:rPr>
              <a:t>AvHStiftung</a:t>
            </a:r>
            <a:br>
              <a:rPr lang="de-DE" altLang="de-DE">
                <a:latin typeface="IBM Plex Sans" panose="020B0503050203000203" pitchFamily="34" charset="0"/>
              </a:rPr>
            </a:br>
            <a:br>
              <a:rPr lang="de-DE" altLang="de-DE">
                <a:latin typeface="IBM Plex Sans" panose="020B0503050203000203" pitchFamily="34" charset="0"/>
              </a:rPr>
            </a:br>
            <a:r>
              <a:rPr lang="de-DE" altLang="de-DE">
                <a:latin typeface="IBM Plex Sans" panose="020B0503050203000203" pitchFamily="34" charset="0"/>
              </a:rPr>
              <a:t>www.youtube.com/AvHStiftung</a:t>
            </a:r>
          </a:p>
          <a:p>
            <a:pPr marL="0" indent="0" eaLnBrk="1" hangingPunct="1">
              <a:defRPr/>
            </a:pPr>
            <a:br>
              <a:rPr lang="de-DE" altLang="de-DE"/>
            </a:br>
            <a:br>
              <a:rPr lang="de-DE" altLang="de-DE"/>
            </a:br>
            <a:endParaRPr lang="de-DE" alt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C955F00-92B4-EC08-7599-F57DB4F343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7147" y="2494424"/>
            <a:ext cx="381000" cy="381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9BC05E2-8759-9D7B-4F41-853F674EAE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7147" y="3079654"/>
            <a:ext cx="381000" cy="2921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0937783-3D99-3A03-21AA-2E54FF09CD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77147" y="3548840"/>
            <a:ext cx="381000" cy="381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51D8F84-603F-4C11-C041-425694235E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13257" y="4389064"/>
            <a:ext cx="381000" cy="3048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70B1C1B-0289-71AB-2DD5-20E91E2A03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13257" y="4947364"/>
            <a:ext cx="406400" cy="29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903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45085ED4-E7F9-53BC-2147-AFE63B9FD59F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t="24487" b="24487"/>
          <a:stretch/>
        </p:blipFill>
        <p:spPr>
          <a:xfrm>
            <a:off x="-21201" y="1811546"/>
            <a:ext cx="12234401" cy="4165507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</p:spPr>
      </p:pic>
      <p:sp>
        <p:nvSpPr>
          <p:cNvPr id="15" name="Titel 14">
            <a:extLst>
              <a:ext uri="{FF2B5EF4-FFF2-40B4-BE49-F238E27FC236}">
                <a16:creationId xmlns:a16="http://schemas.microsoft.com/office/drawing/2014/main" id="{7D1A4BE5-79D7-EFF5-7DCE-BE075FE31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8314" y="651870"/>
            <a:ext cx="9165771" cy="948331"/>
          </a:xfrm>
        </p:spPr>
        <p:txBody>
          <a:bodyPr anchor="t">
            <a:normAutofit fontScale="90000"/>
          </a:bodyPr>
          <a:lstStyle/>
          <a:p>
            <a:r>
              <a:rPr lang="de-DE" sz="4000"/>
              <a:t>GERMAN CHANCELLOR FELLOWSHIP</a:t>
            </a:r>
            <a:br>
              <a:rPr lang="de-DE" sz="4000"/>
            </a:br>
            <a:r>
              <a:rPr lang="de-DE" sz="4000" err="1">
                <a:solidFill>
                  <a:schemeClr val="tx1"/>
                </a:solidFill>
                <a:latin typeface="IBM Plex Sans Thin" panose="020B0203050203000203" pitchFamily="34" charset="0"/>
              </a:rPr>
              <a:t>for</a:t>
            </a:r>
            <a:r>
              <a:rPr lang="de-DE" sz="4000">
                <a:solidFill>
                  <a:schemeClr val="tx1"/>
                </a:solidFill>
                <a:latin typeface="IBM Plex Sans Thin" panose="020B0203050203000203" pitchFamily="34" charset="0"/>
              </a:rPr>
              <a:t> </a:t>
            </a:r>
            <a:r>
              <a:rPr lang="de-DE" sz="4000" err="1">
                <a:solidFill>
                  <a:schemeClr val="tx1"/>
                </a:solidFill>
                <a:latin typeface="IBM Plex Sans Thin" panose="020B0203050203000203" pitchFamily="34" charset="0"/>
              </a:rPr>
              <a:t>prospective</a:t>
            </a:r>
            <a:r>
              <a:rPr lang="de-DE" sz="4000">
                <a:solidFill>
                  <a:schemeClr val="tx1"/>
                </a:solidFill>
                <a:latin typeface="IBM Plex Sans Thin" panose="020B0203050203000203" pitchFamily="34" charset="0"/>
              </a:rPr>
              <a:t> </a:t>
            </a:r>
            <a:r>
              <a:rPr lang="de-DE" sz="4000" err="1">
                <a:solidFill>
                  <a:schemeClr val="tx1"/>
                </a:solidFill>
                <a:latin typeface="IBM Plex Sans Thin" panose="020B0203050203000203" pitchFamily="34" charset="0"/>
              </a:rPr>
              <a:t>leaders</a:t>
            </a:r>
            <a:br>
              <a:rPr lang="de-DE"/>
            </a:b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1827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9" descr="Ein Bild, das Im Haus, Person, Höhle enthält.&#10;&#10;Automatisch generierte Beschreibung">
            <a:extLst>
              <a:ext uri="{FF2B5EF4-FFF2-40B4-BE49-F238E27FC236}">
                <a16:creationId xmlns:a16="http://schemas.microsoft.com/office/drawing/2014/main" id="{F24DDC05-9C12-81B2-FED2-D4F0FE7A056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B2592F59-57C4-E7A5-7A87-1F44075EC63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34646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A8B280-CCBF-DAB5-7668-09B9A3969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630585"/>
            <a:ext cx="3932237" cy="1069975"/>
          </a:xfrm>
        </p:spPr>
        <p:txBody>
          <a:bodyPr>
            <a:normAutofit fontScale="90000"/>
          </a:bodyPr>
          <a:lstStyle/>
          <a:p>
            <a:r>
              <a:rPr lang="de-DE"/>
              <a:t>THE HUMBOLDT FOUNDATION AT A GLANCE</a:t>
            </a:r>
            <a:endParaRPr lang="de-DE">
              <a:highlight>
                <a:srgbClr val="FFFF00"/>
              </a:highlight>
            </a:endParaRPr>
          </a:p>
        </p:txBody>
      </p:sp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7E59988B-4FAD-BF68-7F54-C21DCE2AD0AD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7876" r="7876"/>
          <a:stretch/>
        </p:blipFill>
        <p:spPr/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B2AEF1E-701E-45C9-261B-7D7ED5B7B3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 lnSpcReduction="10000"/>
          </a:bodyPr>
          <a:lstStyle/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Academic collaborations between excellent international and German researchers</a:t>
            </a: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Sponsorship throughout lifetime </a:t>
            </a: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A network of 30,000 alumni worldwide </a:t>
            </a: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International understanding, diplomacy, scientific progress and development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10738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Person, sitzend, Anzug enthält.&#10;&#10;Automatisch generierte Beschreibung">
            <a:extLst>
              <a:ext uri="{FF2B5EF4-FFF2-40B4-BE49-F238E27FC236}">
                <a16:creationId xmlns:a16="http://schemas.microsoft.com/office/drawing/2014/main" id="{936CDF79-45B2-79A4-A9E9-7A9EB64014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10"/>
          <a:stretch/>
        </p:blipFill>
        <p:spPr>
          <a:xfrm>
            <a:off x="6352653" y="0"/>
            <a:ext cx="5839346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952DE8A-1F1F-DC19-36BB-7781811B70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147" y="729052"/>
            <a:ext cx="7064829" cy="1330505"/>
          </a:xfrm>
        </p:spPr>
        <p:txBody>
          <a:bodyPr>
            <a:noAutofit/>
          </a:bodyPr>
          <a:lstStyle/>
          <a:p>
            <a:r>
              <a:rPr lang="de-DE"/>
              <a:t>OUR ROO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832048-480C-6CB4-77B5-C1F3C42724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2440379"/>
            <a:ext cx="5001148" cy="3922143"/>
          </a:xfrm>
        </p:spPr>
        <p:txBody>
          <a:bodyPr>
            <a:normAutofit/>
          </a:bodyPr>
          <a:lstStyle/>
          <a:p>
            <a:pPr marL="0" indent="0" eaLnBrk="1" hangingPunct="1">
              <a:lnSpc>
                <a:spcPct val="100000"/>
              </a:lnSpc>
              <a:buNone/>
            </a:pPr>
            <a:r>
              <a:rPr lang="de-DE" altLang="de-DE" b="1">
                <a:solidFill>
                  <a:schemeClr val="accent5"/>
                </a:solidFill>
                <a:latin typeface="IBM Plex Sans" panose="020B0503050203000203" pitchFamily="34" charset="0"/>
              </a:rPr>
              <a:t>Alexander von Humboldt </a:t>
            </a:r>
            <a:r>
              <a:rPr lang="de-DE" altLang="de-DE" b="1">
                <a:latin typeface="IBM Plex Sans" panose="020B0503050203000203" pitchFamily="34" charset="0"/>
              </a:rPr>
              <a:t>(1769 – 1859):</a:t>
            </a:r>
            <a:br>
              <a:rPr lang="de-DE" altLang="de-DE"/>
            </a:br>
            <a:r>
              <a:rPr lang="en-US" altLang="de-DE"/>
              <a:t>explorer, universal genius, cosmopolitan and sponsor of excellent scientific talent</a:t>
            </a:r>
            <a:endParaRPr lang="de-DE" altLang="de-DE"/>
          </a:p>
          <a:p>
            <a:pPr marL="0" indent="0" eaLnBrk="1" hangingPunct="1">
              <a:lnSpc>
                <a:spcPct val="100000"/>
              </a:lnSpc>
              <a:buNone/>
            </a:pPr>
            <a:r>
              <a:rPr lang="de-DE" altLang="de-DE" b="1">
                <a:latin typeface="IBM Plex Sans" panose="020B0503050203000203" pitchFamily="34" charset="0"/>
              </a:rPr>
              <a:t>1953: </a:t>
            </a:r>
            <a:r>
              <a:rPr lang="en-US" altLang="de-DE"/>
              <a:t>Establishment of today’s Alexander von Humboldt Foundation, based in Bonn Bad-</a:t>
            </a:r>
            <a:r>
              <a:rPr lang="en-US" altLang="de-DE" err="1"/>
              <a:t>Godesberg</a:t>
            </a:r>
            <a:endParaRPr lang="en-US" altLang="de-DE"/>
          </a:p>
          <a:p>
            <a:pPr marL="0" indent="0" eaLnBrk="1" hangingPunct="1">
              <a:lnSpc>
                <a:spcPct val="100000"/>
              </a:lnSpc>
              <a:buNone/>
            </a:pPr>
            <a:r>
              <a:rPr lang="en-US" altLang="de-DE"/>
              <a:t>International network of academic cooperation, modelled on Humboldt</a:t>
            </a:r>
            <a:endParaRPr lang="de-DE" alt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036AA72-8706-21A6-B3E7-7A97512D90D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518453" y="6263375"/>
            <a:ext cx="527219" cy="527219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8DF84943-11B2-4E2C-1164-72813CE48A76}"/>
              </a:ext>
            </a:extLst>
          </p:cNvPr>
          <p:cNvSpPr/>
          <p:nvPr/>
        </p:nvSpPr>
        <p:spPr>
          <a:xfrm>
            <a:off x="10872502" y="1923254"/>
            <a:ext cx="439387" cy="4393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13AA379-EE9E-A952-C16B-C02FF8463AE6}"/>
              </a:ext>
            </a:extLst>
          </p:cNvPr>
          <p:cNvSpPr/>
          <p:nvPr/>
        </p:nvSpPr>
        <p:spPr>
          <a:xfrm>
            <a:off x="11733468" y="2623594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7CED183-0B79-0382-BDC5-53844F4ECC74}"/>
              </a:ext>
            </a:extLst>
          </p:cNvPr>
          <p:cNvSpPr/>
          <p:nvPr/>
        </p:nvSpPr>
        <p:spPr>
          <a:xfrm>
            <a:off x="11131037" y="411897"/>
            <a:ext cx="180852" cy="18085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338F58A-11CE-1FEE-C052-41F877C563C3}"/>
              </a:ext>
            </a:extLst>
          </p:cNvPr>
          <p:cNvSpPr/>
          <p:nvPr/>
        </p:nvSpPr>
        <p:spPr>
          <a:xfrm>
            <a:off x="10238767" y="3250870"/>
            <a:ext cx="178130" cy="1781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5137B4CE-8095-E9BE-D21B-BD8786AD311A}"/>
              </a:ext>
            </a:extLst>
          </p:cNvPr>
          <p:cNvCxnSpPr>
            <a:cxnSpLocks/>
            <a:stCxn id="9" idx="4"/>
            <a:endCxn id="7" idx="0"/>
          </p:cNvCxnSpPr>
          <p:nvPr/>
        </p:nvCxnSpPr>
        <p:spPr>
          <a:xfrm flipH="1">
            <a:off x="11092196" y="592749"/>
            <a:ext cx="129267" cy="133050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9DFCA1E-A1BA-2EAA-B131-A8D27D2F727D}"/>
              </a:ext>
            </a:extLst>
          </p:cNvPr>
          <p:cNvCxnSpPr>
            <a:cxnSpLocks/>
            <a:stCxn id="8" idx="1"/>
            <a:endCxn id="7" idx="5"/>
          </p:cNvCxnSpPr>
          <p:nvPr/>
        </p:nvCxnSpPr>
        <p:spPr>
          <a:xfrm flipH="1" flipV="1">
            <a:off x="11247542" y="2298294"/>
            <a:ext cx="515491" cy="3548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4871D16F-FFBE-F164-CFC9-7530268F4999}"/>
              </a:ext>
            </a:extLst>
          </p:cNvPr>
          <p:cNvCxnSpPr>
            <a:cxnSpLocks/>
            <a:stCxn id="7" idx="3"/>
            <a:endCxn id="10" idx="7"/>
          </p:cNvCxnSpPr>
          <p:nvPr/>
        </p:nvCxnSpPr>
        <p:spPr>
          <a:xfrm flipH="1">
            <a:off x="10390810" y="2298294"/>
            <a:ext cx="546039" cy="978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C8BF658C-A7EB-F0BF-D5C4-D9F1C86D494B}"/>
              </a:ext>
            </a:extLst>
          </p:cNvPr>
          <p:cNvCxnSpPr>
            <a:cxnSpLocks/>
            <a:endCxn id="9" idx="7"/>
          </p:cNvCxnSpPr>
          <p:nvPr/>
        </p:nvCxnSpPr>
        <p:spPr>
          <a:xfrm flipH="1">
            <a:off x="11285404" y="238760"/>
            <a:ext cx="927674" cy="19962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1F6B464D-0423-3775-E5C2-EAE26E9FF14F}"/>
              </a:ext>
            </a:extLst>
          </p:cNvPr>
          <p:cNvCxnSpPr>
            <a:cxnSpLocks/>
            <a:endCxn id="8" idx="6"/>
          </p:cNvCxnSpPr>
          <p:nvPr/>
        </p:nvCxnSpPr>
        <p:spPr>
          <a:xfrm flipH="1">
            <a:off x="11935348" y="2623594"/>
            <a:ext cx="256652" cy="10094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2263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A8B280-CCBF-DAB5-7668-09B9A3969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8866" y="1351953"/>
            <a:ext cx="5835541" cy="1325563"/>
          </a:xfrm>
        </p:spPr>
        <p:txBody>
          <a:bodyPr>
            <a:normAutofit fontScale="90000"/>
          </a:bodyPr>
          <a:lstStyle/>
          <a:p>
            <a:r>
              <a:rPr lang="de-DE"/>
              <a:t>GERMAN CHANCELLOR FELLOWSHIP</a:t>
            </a:r>
            <a:endParaRPr lang="de-DE">
              <a:highlight>
                <a:srgbClr val="FFFF00"/>
              </a:highlight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774D13B-EFB5-68EE-D230-2FF8977E7F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998866" y="3014803"/>
            <a:ext cx="5361284" cy="3530851"/>
          </a:xfrm>
        </p:spPr>
        <p:txBody>
          <a:bodyPr>
            <a:normAutofit/>
          </a:bodyPr>
          <a:lstStyle/>
          <a:p>
            <a:pPr marL="342900" lvl="2" indent="-342900">
              <a:lnSpc>
                <a:spcPct val="100000"/>
              </a:lnSpc>
              <a:spcBef>
                <a:spcPts val="1000"/>
              </a:spcBef>
            </a:pPr>
            <a:r>
              <a:rPr lang="en-US" sz="2000"/>
              <a:t>Graduates with initial leadership experience</a:t>
            </a:r>
          </a:p>
          <a:p>
            <a:pPr marL="342900" lvl="2" indent="-342900">
              <a:lnSpc>
                <a:spcPct val="100000"/>
              </a:lnSpc>
              <a:spcBef>
                <a:spcPts val="1000"/>
              </a:spcBef>
            </a:pPr>
            <a:r>
              <a:rPr lang="en-US" sz="2000"/>
              <a:t>Self-chosen project with a host and collaborative partner in Germany</a:t>
            </a:r>
          </a:p>
          <a:p>
            <a:pPr marL="342900" lvl="2" indent="-342900">
              <a:lnSpc>
                <a:spcPct val="100000"/>
              </a:lnSpc>
              <a:spcBef>
                <a:spcPts val="1000"/>
              </a:spcBef>
            </a:pPr>
            <a:r>
              <a:rPr lang="en-US" sz="2000"/>
              <a:t>Exploring new solutions to the global challenges of our times, engaging in societal dialogue</a:t>
            </a:r>
          </a:p>
          <a:p>
            <a:pPr marL="342900" lvl="2" indent="-342900">
              <a:lnSpc>
                <a:spcPct val="100000"/>
              </a:lnSpc>
              <a:spcBef>
                <a:spcPts val="1000"/>
              </a:spcBef>
            </a:pPr>
            <a:r>
              <a:rPr lang="en-US" sz="2000"/>
              <a:t>International networking and establishing long-lasting contacts to Germany</a:t>
            </a:r>
            <a:endParaRPr lang="de-DE" sz="200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421C40C-83BD-F82E-F68C-56ED71938A6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219" t="101" r="25962" b="816"/>
          <a:stretch/>
        </p:blipFill>
        <p:spPr>
          <a:xfrm>
            <a:off x="0" y="0"/>
            <a:ext cx="5115208" cy="685800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CBE76861-45E5-0747-3D36-E73E4ABAC78A}"/>
              </a:ext>
            </a:extLst>
          </p:cNvPr>
          <p:cNvSpPr/>
          <p:nvPr/>
        </p:nvSpPr>
        <p:spPr>
          <a:xfrm>
            <a:off x="991327" y="1923254"/>
            <a:ext cx="439387" cy="4393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5EED70C-E0F2-CFF7-5D02-76DB1C85B2F9}"/>
              </a:ext>
            </a:extLst>
          </p:cNvPr>
          <p:cNvSpPr/>
          <p:nvPr/>
        </p:nvSpPr>
        <p:spPr>
          <a:xfrm>
            <a:off x="1852293" y="2623594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2CD53F-04F8-5373-EC80-5FFFBC78C6D7}"/>
              </a:ext>
            </a:extLst>
          </p:cNvPr>
          <p:cNvSpPr/>
          <p:nvPr/>
        </p:nvSpPr>
        <p:spPr>
          <a:xfrm>
            <a:off x="1249862" y="411897"/>
            <a:ext cx="180852" cy="18085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9D861A1-E1BB-917E-C6C5-D95875B0DFA0}"/>
              </a:ext>
            </a:extLst>
          </p:cNvPr>
          <p:cNvSpPr/>
          <p:nvPr/>
        </p:nvSpPr>
        <p:spPr>
          <a:xfrm>
            <a:off x="357592" y="3250870"/>
            <a:ext cx="178130" cy="1781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FFF6944C-AED9-12B2-CD92-70ED891B2BA6}"/>
              </a:ext>
            </a:extLst>
          </p:cNvPr>
          <p:cNvCxnSpPr>
            <a:cxnSpLocks/>
            <a:stCxn id="7" idx="4"/>
            <a:endCxn id="5" idx="0"/>
          </p:cNvCxnSpPr>
          <p:nvPr/>
        </p:nvCxnSpPr>
        <p:spPr>
          <a:xfrm flipH="1">
            <a:off x="1211021" y="592749"/>
            <a:ext cx="129267" cy="133050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75EF402D-25D0-D53D-2C9C-A88DE67CBBE7}"/>
              </a:ext>
            </a:extLst>
          </p:cNvPr>
          <p:cNvCxnSpPr>
            <a:cxnSpLocks/>
            <a:stCxn id="6" idx="1"/>
            <a:endCxn id="5" idx="5"/>
          </p:cNvCxnSpPr>
          <p:nvPr/>
        </p:nvCxnSpPr>
        <p:spPr>
          <a:xfrm flipH="1" flipV="1">
            <a:off x="1366367" y="2298294"/>
            <a:ext cx="515491" cy="3548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D20D0871-27E4-1DBE-87B7-926457950610}"/>
              </a:ext>
            </a:extLst>
          </p:cNvPr>
          <p:cNvCxnSpPr>
            <a:cxnSpLocks/>
            <a:stCxn id="5" idx="3"/>
            <a:endCxn id="8" idx="7"/>
          </p:cNvCxnSpPr>
          <p:nvPr/>
        </p:nvCxnSpPr>
        <p:spPr>
          <a:xfrm flipH="1">
            <a:off x="509635" y="2298294"/>
            <a:ext cx="546039" cy="978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2EA83935-D979-E953-7DA6-409E8E5CA361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717630" y="0"/>
            <a:ext cx="558717" cy="43838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1213C505-47E4-1A80-29CD-C1C8B193CF3F}"/>
              </a:ext>
            </a:extLst>
          </p:cNvPr>
          <p:cNvCxnSpPr>
            <a:cxnSpLocks/>
            <a:stCxn id="8" idx="6"/>
            <a:endCxn id="6" idx="3"/>
          </p:cNvCxnSpPr>
          <p:nvPr/>
        </p:nvCxnSpPr>
        <p:spPr>
          <a:xfrm flipV="1">
            <a:off x="535722" y="2795909"/>
            <a:ext cx="1346136" cy="54402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9EB49469-E1BC-A399-4212-63D873D0D096}"/>
              </a:ext>
            </a:extLst>
          </p:cNvPr>
          <p:cNvCxnSpPr>
            <a:cxnSpLocks/>
            <a:endCxn id="8" idx="2"/>
          </p:cNvCxnSpPr>
          <p:nvPr/>
        </p:nvCxnSpPr>
        <p:spPr>
          <a:xfrm>
            <a:off x="0" y="3276957"/>
            <a:ext cx="357592" cy="6297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6D959209-12C4-E51D-362A-35D2E235CD95}"/>
              </a:ext>
            </a:extLst>
          </p:cNvPr>
          <p:cNvSpPr txBox="1"/>
          <p:nvPr/>
        </p:nvSpPr>
        <p:spPr>
          <a:xfrm>
            <a:off x="831850" y="6396180"/>
            <a:ext cx="37733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BC29D-A5FE-1248-A03D-D7D35CA1AE83}" type="slidenum">
              <a:rPr lang="de-DE" sz="1100" b="0" i="0" smtClean="0"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lang="de-DE" sz="1100" b="0" i="0">
                <a:latin typeface="IBM Plex Sans Light" panose="020B0403050203000203" pitchFamily="34" charset="0"/>
              </a:rPr>
              <a:t> | </a:t>
            </a:r>
            <a:fld id="{EF543838-273D-F04A-829F-F5483DF16BC0}" type="datetimeFigureOut">
              <a:rPr lang="de-DE" sz="1100" b="0" i="0" smtClean="0"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06.2023</a:t>
            </a:fld>
            <a:endParaRPr lang="de-DE" sz="1100" b="0" i="0">
              <a:latin typeface="IBM Plex Sans Light" panose="020B04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24857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5" name="Group 3">
            <a:extLst>
              <a:ext uri="{FF2B5EF4-FFF2-40B4-BE49-F238E27FC236}">
                <a16:creationId xmlns:a16="http://schemas.microsoft.com/office/drawing/2014/main" id="{4AB15CCF-8E85-59A2-3A0A-E0D199470D36}"/>
              </a:ext>
            </a:extLst>
          </p:cNvPr>
          <p:cNvGrpSpPr/>
          <p:nvPr/>
        </p:nvGrpSpPr>
        <p:grpSpPr>
          <a:xfrm>
            <a:off x="2386488" y="1106086"/>
            <a:ext cx="7361874" cy="3178744"/>
            <a:chOff x="665163" y="2509838"/>
            <a:chExt cx="8610600" cy="3717925"/>
          </a:xfrm>
          <a:solidFill>
            <a:schemeClr val="accent5"/>
          </a:solidFill>
        </p:grpSpPr>
        <p:sp>
          <p:nvSpPr>
            <p:cNvPr id="376" name="Freeform 4">
              <a:extLst>
                <a:ext uri="{FF2B5EF4-FFF2-40B4-BE49-F238E27FC236}">
                  <a16:creationId xmlns:a16="http://schemas.microsoft.com/office/drawing/2014/main" id="{E7257AF9-5383-6677-4542-017882B267B3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856663" y="5811838"/>
              <a:ext cx="269875" cy="157162"/>
            </a:xfrm>
            <a:custGeom>
              <a:avLst/>
              <a:gdLst>
                <a:gd name="T0" fmla="*/ 269875 w 142"/>
                <a:gd name="T1" fmla="*/ 7666 h 82"/>
                <a:gd name="T2" fmla="*/ 229964 w 142"/>
                <a:gd name="T3" fmla="*/ 53665 h 82"/>
                <a:gd name="T4" fmla="*/ 212859 w 142"/>
                <a:gd name="T5" fmla="*/ 67081 h 82"/>
                <a:gd name="T6" fmla="*/ 201456 w 142"/>
                <a:gd name="T7" fmla="*/ 70915 h 82"/>
                <a:gd name="T8" fmla="*/ 159644 w 142"/>
                <a:gd name="T9" fmla="*/ 90081 h 82"/>
                <a:gd name="T10" fmla="*/ 125435 w 142"/>
                <a:gd name="T11" fmla="*/ 122663 h 82"/>
                <a:gd name="T12" fmla="*/ 119733 w 142"/>
                <a:gd name="T13" fmla="*/ 136079 h 82"/>
                <a:gd name="T14" fmla="*/ 70320 w 142"/>
                <a:gd name="T15" fmla="*/ 157162 h 82"/>
                <a:gd name="T16" fmla="*/ 22806 w 142"/>
                <a:gd name="T17" fmla="*/ 149496 h 82"/>
                <a:gd name="T18" fmla="*/ 28508 w 142"/>
                <a:gd name="T19" fmla="*/ 122663 h 82"/>
                <a:gd name="T20" fmla="*/ 41812 w 142"/>
                <a:gd name="T21" fmla="*/ 107330 h 82"/>
                <a:gd name="T22" fmla="*/ 62717 w 142"/>
                <a:gd name="T23" fmla="*/ 90081 h 82"/>
                <a:gd name="T24" fmla="*/ 167246 w 142"/>
                <a:gd name="T25" fmla="*/ 57498 h 82"/>
                <a:gd name="T26" fmla="*/ 190053 w 142"/>
                <a:gd name="T27" fmla="*/ 32582 h 82"/>
                <a:gd name="T28" fmla="*/ 205257 w 142"/>
                <a:gd name="T29" fmla="*/ 19166 h 82"/>
                <a:gd name="T30" fmla="*/ 229964 w 142"/>
                <a:gd name="T31" fmla="*/ 0 h 82"/>
                <a:gd name="T32" fmla="*/ 241367 w 142"/>
                <a:gd name="T33" fmla="*/ 1917 h 82"/>
                <a:gd name="T34" fmla="*/ 248969 w 142"/>
                <a:gd name="T35" fmla="*/ 13416 h 82"/>
                <a:gd name="T36" fmla="*/ 269875 w 142"/>
                <a:gd name="T37" fmla="*/ 7666 h 8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2"/>
                <a:gd name="T58" fmla="*/ 0 h 82"/>
                <a:gd name="T59" fmla="*/ 142 w 142"/>
                <a:gd name="T60" fmla="*/ 82 h 8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2" h="82">
                  <a:moveTo>
                    <a:pt x="142" y="4"/>
                  </a:moveTo>
                  <a:cubicBezTo>
                    <a:pt x="140" y="5"/>
                    <a:pt x="125" y="24"/>
                    <a:pt x="121" y="28"/>
                  </a:cubicBezTo>
                  <a:cubicBezTo>
                    <a:pt x="118" y="31"/>
                    <a:pt x="115" y="33"/>
                    <a:pt x="112" y="35"/>
                  </a:cubicBezTo>
                  <a:cubicBezTo>
                    <a:pt x="110" y="36"/>
                    <a:pt x="106" y="37"/>
                    <a:pt x="106" y="37"/>
                  </a:cubicBezTo>
                  <a:cubicBezTo>
                    <a:pt x="103" y="45"/>
                    <a:pt x="91" y="46"/>
                    <a:pt x="84" y="47"/>
                  </a:cubicBezTo>
                  <a:cubicBezTo>
                    <a:pt x="76" y="50"/>
                    <a:pt x="73" y="59"/>
                    <a:pt x="66" y="64"/>
                  </a:cubicBezTo>
                  <a:cubicBezTo>
                    <a:pt x="65" y="66"/>
                    <a:pt x="65" y="69"/>
                    <a:pt x="63" y="71"/>
                  </a:cubicBezTo>
                  <a:cubicBezTo>
                    <a:pt x="58" y="77"/>
                    <a:pt x="44" y="77"/>
                    <a:pt x="37" y="82"/>
                  </a:cubicBezTo>
                  <a:cubicBezTo>
                    <a:pt x="29" y="81"/>
                    <a:pt x="20" y="79"/>
                    <a:pt x="12" y="78"/>
                  </a:cubicBezTo>
                  <a:cubicBezTo>
                    <a:pt x="0" y="74"/>
                    <a:pt x="9" y="70"/>
                    <a:pt x="15" y="64"/>
                  </a:cubicBezTo>
                  <a:cubicBezTo>
                    <a:pt x="23" y="54"/>
                    <a:pt x="15" y="61"/>
                    <a:pt x="22" y="56"/>
                  </a:cubicBezTo>
                  <a:cubicBezTo>
                    <a:pt x="24" y="50"/>
                    <a:pt x="27" y="49"/>
                    <a:pt x="33" y="47"/>
                  </a:cubicBezTo>
                  <a:cubicBezTo>
                    <a:pt x="40" y="40"/>
                    <a:pt x="77" y="32"/>
                    <a:pt x="88" y="30"/>
                  </a:cubicBezTo>
                  <a:cubicBezTo>
                    <a:pt x="95" y="26"/>
                    <a:pt x="95" y="22"/>
                    <a:pt x="100" y="17"/>
                  </a:cubicBezTo>
                  <a:cubicBezTo>
                    <a:pt x="101" y="13"/>
                    <a:pt x="104" y="12"/>
                    <a:pt x="108" y="10"/>
                  </a:cubicBezTo>
                  <a:cubicBezTo>
                    <a:pt x="110" y="4"/>
                    <a:pt x="115" y="2"/>
                    <a:pt x="121" y="0"/>
                  </a:cubicBezTo>
                  <a:cubicBezTo>
                    <a:pt x="123" y="0"/>
                    <a:pt x="125" y="0"/>
                    <a:pt x="127" y="1"/>
                  </a:cubicBezTo>
                  <a:cubicBezTo>
                    <a:pt x="129" y="2"/>
                    <a:pt x="131" y="7"/>
                    <a:pt x="131" y="7"/>
                  </a:cubicBezTo>
                  <a:cubicBezTo>
                    <a:pt x="135" y="7"/>
                    <a:pt x="142" y="4"/>
                    <a:pt x="142" y="4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77" name="Freeform 5">
              <a:extLst>
                <a:ext uri="{FF2B5EF4-FFF2-40B4-BE49-F238E27FC236}">
                  <a16:creationId xmlns:a16="http://schemas.microsoft.com/office/drawing/2014/main" id="{3AA019AE-785B-E2F1-9960-97CAA451B13B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9139238" y="5649913"/>
              <a:ext cx="136525" cy="180975"/>
            </a:xfrm>
            <a:custGeom>
              <a:avLst/>
              <a:gdLst>
                <a:gd name="T0" fmla="*/ 3792 w 72"/>
                <a:gd name="T1" fmla="*/ 173355 h 95"/>
                <a:gd name="T2" fmla="*/ 20858 w 72"/>
                <a:gd name="T3" fmla="*/ 135255 h 95"/>
                <a:gd name="T4" fmla="*/ 1896 w 72"/>
                <a:gd name="T5" fmla="*/ 120015 h 95"/>
                <a:gd name="T6" fmla="*/ 17066 w 72"/>
                <a:gd name="T7" fmla="*/ 104775 h 95"/>
                <a:gd name="T8" fmla="*/ 28443 w 72"/>
                <a:gd name="T9" fmla="*/ 100965 h 95"/>
                <a:gd name="T10" fmla="*/ 43612 w 72"/>
                <a:gd name="T11" fmla="*/ 78105 h 95"/>
                <a:gd name="T12" fmla="*/ 28443 w 72"/>
                <a:gd name="T13" fmla="*/ 20955 h 95"/>
                <a:gd name="T14" fmla="*/ 22754 w 72"/>
                <a:gd name="T15" fmla="*/ 3810 h 95"/>
                <a:gd name="T16" fmla="*/ 54989 w 72"/>
                <a:gd name="T17" fmla="*/ 3810 h 95"/>
                <a:gd name="T18" fmla="*/ 56885 w 72"/>
                <a:gd name="T19" fmla="*/ 40005 h 95"/>
                <a:gd name="T20" fmla="*/ 72055 w 72"/>
                <a:gd name="T21" fmla="*/ 60960 h 95"/>
                <a:gd name="T22" fmla="*/ 83432 w 72"/>
                <a:gd name="T23" fmla="*/ 51435 h 95"/>
                <a:gd name="T24" fmla="*/ 94809 w 72"/>
                <a:gd name="T25" fmla="*/ 85725 h 95"/>
                <a:gd name="T26" fmla="*/ 130836 w 72"/>
                <a:gd name="T27" fmla="*/ 78105 h 95"/>
                <a:gd name="T28" fmla="*/ 125148 w 72"/>
                <a:gd name="T29" fmla="*/ 106680 h 95"/>
                <a:gd name="T30" fmla="*/ 81536 w 72"/>
                <a:gd name="T31" fmla="*/ 120015 h 95"/>
                <a:gd name="T32" fmla="*/ 17066 w 72"/>
                <a:gd name="T33" fmla="*/ 180975 h 95"/>
                <a:gd name="T34" fmla="*/ 3792 w 72"/>
                <a:gd name="T35" fmla="*/ 173355 h 9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95"/>
                <a:gd name="T56" fmla="*/ 72 w 72"/>
                <a:gd name="T57" fmla="*/ 95 h 9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95">
                  <a:moveTo>
                    <a:pt x="2" y="91"/>
                  </a:moveTo>
                  <a:cubicBezTo>
                    <a:pt x="5" y="84"/>
                    <a:pt x="6" y="76"/>
                    <a:pt x="11" y="71"/>
                  </a:cubicBezTo>
                  <a:cubicBezTo>
                    <a:pt x="2" y="66"/>
                    <a:pt x="4" y="70"/>
                    <a:pt x="1" y="63"/>
                  </a:cubicBezTo>
                  <a:cubicBezTo>
                    <a:pt x="3" y="60"/>
                    <a:pt x="5" y="57"/>
                    <a:pt x="9" y="55"/>
                  </a:cubicBezTo>
                  <a:cubicBezTo>
                    <a:pt x="11" y="54"/>
                    <a:pt x="15" y="53"/>
                    <a:pt x="15" y="53"/>
                  </a:cubicBezTo>
                  <a:cubicBezTo>
                    <a:pt x="19" y="49"/>
                    <a:pt x="20" y="45"/>
                    <a:pt x="23" y="41"/>
                  </a:cubicBezTo>
                  <a:cubicBezTo>
                    <a:pt x="22" y="35"/>
                    <a:pt x="22" y="16"/>
                    <a:pt x="15" y="11"/>
                  </a:cubicBezTo>
                  <a:cubicBezTo>
                    <a:pt x="14" y="8"/>
                    <a:pt x="12" y="2"/>
                    <a:pt x="12" y="2"/>
                  </a:cubicBezTo>
                  <a:cubicBezTo>
                    <a:pt x="18" y="0"/>
                    <a:pt x="23" y="0"/>
                    <a:pt x="29" y="2"/>
                  </a:cubicBezTo>
                  <a:cubicBezTo>
                    <a:pt x="31" y="10"/>
                    <a:pt x="31" y="10"/>
                    <a:pt x="30" y="21"/>
                  </a:cubicBezTo>
                  <a:cubicBezTo>
                    <a:pt x="31" y="31"/>
                    <a:pt x="29" y="34"/>
                    <a:pt x="38" y="32"/>
                  </a:cubicBezTo>
                  <a:cubicBezTo>
                    <a:pt x="39" y="28"/>
                    <a:pt x="39" y="24"/>
                    <a:pt x="44" y="27"/>
                  </a:cubicBezTo>
                  <a:cubicBezTo>
                    <a:pt x="45" y="33"/>
                    <a:pt x="44" y="41"/>
                    <a:pt x="50" y="45"/>
                  </a:cubicBezTo>
                  <a:cubicBezTo>
                    <a:pt x="57" y="44"/>
                    <a:pt x="62" y="43"/>
                    <a:pt x="69" y="41"/>
                  </a:cubicBezTo>
                  <a:cubicBezTo>
                    <a:pt x="72" y="45"/>
                    <a:pt x="70" y="53"/>
                    <a:pt x="66" y="56"/>
                  </a:cubicBezTo>
                  <a:cubicBezTo>
                    <a:pt x="60" y="60"/>
                    <a:pt x="49" y="61"/>
                    <a:pt x="43" y="63"/>
                  </a:cubicBezTo>
                  <a:cubicBezTo>
                    <a:pt x="32" y="80"/>
                    <a:pt x="25" y="84"/>
                    <a:pt x="9" y="95"/>
                  </a:cubicBezTo>
                  <a:cubicBezTo>
                    <a:pt x="0" y="93"/>
                    <a:pt x="0" y="95"/>
                    <a:pt x="2" y="91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grpSp>
          <p:nvGrpSpPr>
            <p:cNvPr id="378" name="Group 7">
              <a:extLst>
                <a:ext uri="{FF2B5EF4-FFF2-40B4-BE49-F238E27FC236}">
                  <a16:creationId xmlns:a16="http://schemas.microsoft.com/office/drawing/2014/main" id="{2114388A-F791-C803-61A1-4EA1F60B2DD5}"/>
                </a:ext>
              </a:extLst>
            </p:cNvPr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2135182" y="2863828"/>
              <a:ext cx="690562" cy="663570"/>
              <a:chOff x="1916" y="1640"/>
              <a:chExt cx="320" cy="360"/>
            </a:xfrm>
            <a:grpFill/>
          </p:grpSpPr>
          <p:sp>
            <p:nvSpPr>
              <p:cNvPr id="718" name="Freeform 8">
                <a:extLst>
                  <a:ext uri="{FF2B5EF4-FFF2-40B4-BE49-F238E27FC236}">
                    <a16:creationId xmlns:a16="http://schemas.microsoft.com/office/drawing/2014/main" id="{496961DB-8D85-37F9-AE69-A4486A027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1640"/>
                <a:ext cx="80" cy="24"/>
              </a:xfrm>
              <a:custGeom>
                <a:avLst/>
                <a:gdLst>
                  <a:gd name="T0" fmla="*/ 0 w 80"/>
                  <a:gd name="T1" fmla="*/ 8 h 24"/>
                  <a:gd name="T2" fmla="*/ 32 w 80"/>
                  <a:gd name="T3" fmla="*/ 8 h 24"/>
                  <a:gd name="T4" fmla="*/ 40 w 80"/>
                  <a:gd name="T5" fmla="*/ 16 h 24"/>
                  <a:gd name="T6" fmla="*/ 0 w 80"/>
                  <a:gd name="T7" fmla="*/ 24 h 24"/>
                  <a:gd name="T8" fmla="*/ 16 w 80"/>
                  <a:gd name="T9" fmla="*/ 24 h 24"/>
                  <a:gd name="T10" fmla="*/ 40 w 80"/>
                  <a:gd name="T11" fmla="*/ 16 h 24"/>
                  <a:gd name="T12" fmla="*/ 24 w 80"/>
                  <a:gd name="T13" fmla="*/ 24 h 24"/>
                  <a:gd name="T14" fmla="*/ 48 w 80"/>
                  <a:gd name="T15" fmla="*/ 24 h 24"/>
                  <a:gd name="T16" fmla="*/ 48 w 80"/>
                  <a:gd name="T17" fmla="*/ 16 h 24"/>
                  <a:gd name="T18" fmla="*/ 64 w 80"/>
                  <a:gd name="T19" fmla="*/ 16 h 24"/>
                  <a:gd name="T20" fmla="*/ 80 w 80"/>
                  <a:gd name="T21" fmla="*/ 8 h 24"/>
                  <a:gd name="T22" fmla="*/ 48 w 80"/>
                  <a:gd name="T23" fmla="*/ 8 h 24"/>
                  <a:gd name="T24" fmla="*/ 72 w 80"/>
                  <a:gd name="T25" fmla="*/ 0 h 24"/>
                  <a:gd name="T26" fmla="*/ 64 w 80"/>
                  <a:gd name="T27" fmla="*/ 0 h 24"/>
                  <a:gd name="T28" fmla="*/ 0 w 80"/>
                  <a:gd name="T29" fmla="*/ 8 h 2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0"/>
                  <a:gd name="T46" fmla="*/ 0 h 24"/>
                  <a:gd name="T47" fmla="*/ 80 w 80"/>
                  <a:gd name="T48" fmla="*/ 24 h 2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0" h="24">
                    <a:moveTo>
                      <a:pt x="0" y="8"/>
                    </a:moveTo>
                    <a:lnTo>
                      <a:pt x="32" y="8"/>
                    </a:lnTo>
                    <a:lnTo>
                      <a:pt x="40" y="16"/>
                    </a:lnTo>
                    <a:lnTo>
                      <a:pt x="0" y="24"/>
                    </a:lnTo>
                    <a:lnTo>
                      <a:pt x="16" y="24"/>
                    </a:lnTo>
                    <a:lnTo>
                      <a:pt x="40" y="16"/>
                    </a:lnTo>
                    <a:lnTo>
                      <a:pt x="24" y="24"/>
                    </a:lnTo>
                    <a:lnTo>
                      <a:pt x="48" y="24"/>
                    </a:lnTo>
                    <a:lnTo>
                      <a:pt x="48" y="16"/>
                    </a:lnTo>
                    <a:lnTo>
                      <a:pt x="64" y="16"/>
                    </a:lnTo>
                    <a:lnTo>
                      <a:pt x="80" y="8"/>
                    </a:lnTo>
                    <a:lnTo>
                      <a:pt x="48" y="8"/>
                    </a:lnTo>
                    <a:lnTo>
                      <a:pt x="72" y="0"/>
                    </a:lnTo>
                    <a:lnTo>
                      <a:pt x="64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9" name="Freeform 9">
                <a:extLst>
                  <a:ext uri="{FF2B5EF4-FFF2-40B4-BE49-F238E27FC236}">
                    <a16:creationId xmlns:a16="http://schemas.microsoft.com/office/drawing/2014/main" id="{53A949FA-57FB-F4F0-98E2-083D4A7F20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2" y="1696"/>
                <a:ext cx="88" cy="24"/>
              </a:xfrm>
              <a:custGeom>
                <a:avLst/>
                <a:gdLst>
                  <a:gd name="T0" fmla="*/ 88 w 88"/>
                  <a:gd name="T1" fmla="*/ 0 h 24"/>
                  <a:gd name="T2" fmla="*/ 48 w 88"/>
                  <a:gd name="T3" fmla="*/ 8 h 24"/>
                  <a:gd name="T4" fmla="*/ 32 w 88"/>
                  <a:gd name="T5" fmla="*/ 8 h 24"/>
                  <a:gd name="T6" fmla="*/ 32 w 88"/>
                  <a:gd name="T7" fmla="*/ 16 h 24"/>
                  <a:gd name="T8" fmla="*/ 8 w 88"/>
                  <a:gd name="T9" fmla="*/ 24 h 24"/>
                  <a:gd name="T10" fmla="*/ 0 w 88"/>
                  <a:gd name="T11" fmla="*/ 24 h 24"/>
                  <a:gd name="T12" fmla="*/ 8 w 88"/>
                  <a:gd name="T13" fmla="*/ 24 h 24"/>
                  <a:gd name="T14" fmla="*/ 32 w 88"/>
                  <a:gd name="T15" fmla="*/ 24 h 24"/>
                  <a:gd name="T16" fmla="*/ 64 w 88"/>
                  <a:gd name="T17" fmla="*/ 8 h 24"/>
                  <a:gd name="T18" fmla="*/ 88 w 88"/>
                  <a:gd name="T19" fmla="*/ 8 h 24"/>
                  <a:gd name="T20" fmla="*/ 88 w 88"/>
                  <a:gd name="T21" fmla="*/ 0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8"/>
                  <a:gd name="T34" fmla="*/ 0 h 24"/>
                  <a:gd name="T35" fmla="*/ 88 w 88"/>
                  <a:gd name="T36" fmla="*/ 24 h 2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8" h="24">
                    <a:moveTo>
                      <a:pt x="88" y="0"/>
                    </a:moveTo>
                    <a:lnTo>
                      <a:pt x="48" y="8"/>
                    </a:lnTo>
                    <a:lnTo>
                      <a:pt x="32" y="8"/>
                    </a:lnTo>
                    <a:lnTo>
                      <a:pt x="32" y="16"/>
                    </a:lnTo>
                    <a:lnTo>
                      <a:pt x="8" y="24"/>
                    </a:lnTo>
                    <a:lnTo>
                      <a:pt x="0" y="24"/>
                    </a:lnTo>
                    <a:lnTo>
                      <a:pt x="8" y="24"/>
                    </a:lnTo>
                    <a:lnTo>
                      <a:pt x="32" y="24"/>
                    </a:lnTo>
                    <a:lnTo>
                      <a:pt x="64" y="8"/>
                    </a:lnTo>
                    <a:lnTo>
                      <a:pt x="88" y="8"/>
                    </a:lnTo>
                    <a:lnTo>
                      <a:pt x="8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0" name="Freeform 10">
                <a:extLst>
                  <a:ext uri="{FF2B5EF4-FFF2-40B4-BE49-F238E27FC236}">
                    <a16:creationId xmlns:a16="http://schemas.microsoft.com/office/drawing/2014/main" id="{2151BCD4-8B71-00A2-8C7A-44EC666588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4" y="1736"/>
                <a:ext cx="48" cy="16"/>
              </a:xfrm>
              <a:custGeom>
                <a:avLst/>
                <a:gdLst>
                  <a:gd name="T0" fmla="*/ 0 w 48"/>
                  <a:gd name="T1" fmla="*/ 16 h 16"/>
                  <a:gd name="T2" fmla="*/ 48 w 48"/>
                  <a:gd name="T3" fmla="*/ 8 h 16"/>
                  <a:gd name="T4" fmla="*/ 24 w 48"/>
                  <a:gd name="T5" fmla="*/ 0 h 16"/>
                  <a:gd name="T6" fmla="*/ 0 w 48"/>
                  <a:gd name="T7" fmla="*/ 16 h 1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8"/>
                  <a:gd name="T13" fmla="*/ 0 h 16"/>
                  <a:gd name="T14" fmla="*/ 48 w 48"/>
                  <a:gd name="T15" fmla="*/ 16 h 1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8" h="16">
                    <a:moveTo>
                      <a:pt x="0" y="16"/>
                    </a:moveTo>
                    <a:lnTo>
                      <a:pt x="48" y="8"/>
                    </a:lnTo>
                    <a:lnTo>
                      <a:pt x="24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1" name="Freeform 11">
                <a:extLst>
                  <a:ext uri="{FF2B5EF4-FFF2-40B4-BE49-F238E27FC236}">
                    <a16:creationId xmlns:a16="http://schemas.microsoft.com/office/drawing/2014/main" id="{CE96D60B-5245-4093-5034-147818983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0" y="1760"/>
                <a:ext cx="32" cy="24"/>
              </a:xfrm>
              <a:custGeom>
                <a:avLst/>
                <a:gdLst>
                  <a:gd name="T0" fmla="*/ 0 w 32"/>
                  <a:gd name="T1" fmla="*/ 24 h 24"/>
                  <a:gd name="T2" fmla="*/ 16 w 32"/>
                  <a:gd name="T3" fmla="*/ 24 h 24"/>
                  <a:gd name="T4" fmla="*/ 24 w 32"/>
                  <a:gd name="T5" fmla="*/ 8 h 24"/>
                  <a:gd name="T6" fmla="*/ 32 w 32"/>
                  <a:gd name="T7" fmla="*/ 8 h 24"/>
                  <a:gd name="T8" fmla="*/ 32 w 32"/>
                  <a:gd name="T9" fmla="*/ 0 h 24"/>
                  <a:gd name="T10" fmla="*/ 0 w 32"/>
                  <a:gd name="T11" fmla="*/ 24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2"/>
                  <a:gd name="T19" fmla="*/ 0 h 24"/>
                  <a:gd name="T20" fmla="*/ 32 w 32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2" h="24">
                    <a:moveTo>
                      <a:pt x="0" y="24"/>
                    </a:moveTo>
                    <a:lnTo>
                      <a:pt x="16" y="24"/>
                    </a:lnTo>
                    <a:lnTo>
                      <a:pt x="24" y="8"/>
                    </a:lnTo>
                    <a:lnTo>
                      <a:pt x="32" y="8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2" name="Freeform 12">
                <a:extLst>
                  <a:ext uri="{FF2B5EF4-FFF2-40B4-BE49-F238E27FC236}">
                    <a16:creationId xmlns:a16="http://schemas.microsoft.com/office/drawing/2014/main" id="{866BA898-9D9D-BF23-1BA4-1E6151D06A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6" y="1824"/>
                <a:ext cx="16" cy="48"/>
              </a:xfrm>
              <a:custGeom>
                <a:avLst/>
                <a:gdLst>
                  <a:gd name="T0" fmla="*/ 0 w 16"/>
                  <a:gd name="T1" fmla="*/ 8 h 48"/>
                  <a:gd name="T2" fmla="*/ 0 w 16"/>
                  <a:gd name="T3" fmla="*/ 24 h 48"/>
                  <a:gd name="T4" fmla="*/ 8 w 16"/>
                  <a:gd name="T5" fmla="*/ 24 h 48"/>
                  <a:gd name="T6" fmla="*/ 0 w 16"/>
                  <a:gd name="T7" fmla="*/ 32 h 48"/>
                  <a:gd name="T8" fmla="*/ 8 w 16"/>
                  <a:gd name="T9" fmla="*/ 32 h 48"/>
                  <a:gd name="T10" fmla="*/ 0 w 16"/>
                  <a:gd name="T11" fmla="*/ 48 h 48"/>
                  <a:gd name="T12" fmla="*/ 16 w 16"/>
                  <a:gd name="T13" fmla="*/ 32 h 48"/>
                  <a:gd name="T14" fmla="*/ 16 w 16"/>
                  <a:gd name="T15" fmla="*/ 0 h 48"/>
                  <a:gd name="T16" fmla="*/ 8 w 16"/>
                  <a:gd name="T17" fmla="*/ 0 h 48"/>
                  <a:gd name="T18" fmla="*/ 0 w 16"/>
                  <a:gd name="T19" fmla="*/ 8 h 4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6"/>
                  <a:gd name="T31" fmla="*/ 0 h 48"/>
                  <a:gd name="T32" fmla="*/ 16 w 16"/>
                  <a:gd name="T33" fmla="*/ 48 h 4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6" h="48">
                    <a:moveTo>
                      <a:pt x="0" y="8"/>
                    </a:moveTo>
                    <a:lnTo>
                      <a:pt x="0" y="24"/>
                    </a:lnTo>
                    <a:lnTo>
                      <a:pt x="8" y="24"/>
                    </a:lnTo>
                    <a:lnTo>
                      <a:pt x="0" y="32"/>
                    </a:lnTo>
                    <a:lnTo>
                      <a:pt x="8" y="32"/>
                    </a:lnTo>
                    <a:lnTo>
                      <a:pt x="0" y="48"/>
                    </a:lnTo>
                    <a:lnTo>
                      <a:pt x="16" y="32"/>
                    </a:lnTo>
                    <a:lnTo>
                      <a:pt x="16" y="0"/>
                    </a:lnTo>
                    <a:lnTo>
                      <a:pt x="8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723" name="Group 13">
                <a:extLst>
                  <a:ext uri="{FF2B5EF4-FFF2-40B4-BE49-F238E27FC236}">
                    <a16:creationId xmlns:a16="http://schemas.microsoft.com/office/drawing/2014/main" id="{75FEF9FD-2B41-0E40-0211-2DF1134E102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060" y="1888"/>
                <a:ext cx="176" cy="112"/>
                <a:chOff x="2060" y="1888"/>
                <a:chExt cx="176" cy="112"/>
              </a:xfrm>
              <a:grpFill/>
            </p:grpSpPr>
            <p:sp>
              <p:nvSpPr>
                <p:cNvPr id="725" name="Freeform 14">
                  <a:extLst>
                    <a:ext uri="{FF2B5EF4-FFF2-40B4-BE49-F238E27FC236}">
                      <a16:creationId xmlns:a16="http://schemas.microsoft.com/office/drawing/2014/main" id="{5AA38615-A6FE-4FB4-7CA3-3307A07B5B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0" y="1960"/>
                  <a:ext cx="56" cy="16"/>
                </a:xfrm>
                <a:custGeom>
                  <a:avLst/>
                  <a:gdLst>
                    <a:gd name="T0" fmla="*/ 8 w 56"/>
                    <a:gd name="T1" fmla="*/ 16 h 16"/>
                    <a:gd name="T2" fmla="*/ 48 w 56"/>
                    <a:gd name="T3" fmla="*/ 16 h 16"/>
                    <a:gd name="T4" fmla="*/ 56 w 56"/>
                    <a:gd name="T5" fmla="*/ 0 h 16"/>
                    <a:gd name="T6" fmla="*/ 40 w 56"/>
                    <a:gd name="T7" fmla="*/ 8 h 16"/>
                    <a:gd name="T8" fmla="*/ 8 w 56"/>
                    <a:gd name="T9" fmla="*/ 8 h 16"/>
                    <a:gd name="T10" fmla="*/ 0 w 56"/>
                    <a:gd name="T11" fmla="*/ 16 h 16"/>
                    <a:gd name="T12" fmla="*/ 8 w 56"/>
                    <a:gd name="T13" fmla="*/ 16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6"/>
                    <a:gd name="T22" fmla="*/ 0 h 16"/>
                    <a:gd name="T23" fmla="*/ 56 w 56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6" h="16">
                      <a:moveTo>
                        <a:pt x="8" y="16"/>
                      </a:moveTo>
                      <a:lnTo>
                        <a:pt x="48" y="16"/>
                      </a:lnTo>
                      <a:lnTo>
                        <a:pt x="56" y="0"/>
                      </a:lnTo>
                      <a:lnTo>
                        <a:pt x="40" y="8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26" name="Freeform 15">
                  <a:extLst>
                    <a:ext uri="{FF2B5EF4-FFF2-40B4-BE49-F238E27FC236}">
                      <a16:creationId xmlns:a16="http://schemas.microsoft.com/office/drawing/2014/main" id="{B5375127-11D7-0B7A-BCCA-9A6DED4418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2" y="1984"/>
                  <a:ext cx="64" cy="16"/>
                </a:xfrm>
                <a:custGeom>
                  <a:avLst/>
                  <a:gdLst>
                    <a:gd name="T0" fmla="*/ 0 w 64"/>
                    <a:gd name="T1" fmla="*/ 16 h 16"/>
                    <a:gd name="T2" fmla="*/ 16 w 64"/>
                    <a:gd name="T3" fmla="*/ 16 h 16"/>
                    <a:gd name="T4" fmla="*/ 64 w 64"/>
                    <a:gd name="T5" fmla="*/ 0 h 16"/>
                    <a:gd name="T6" fmla="*/ 24 w 64"/>
                    <a:gd name="T7" fmla="*/ 0 h 16"/>
                    <a:gd name="T8" fmla="*/ 0 w 64"/>
                    <a:gd name="T9" fmla="*/ 16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4"/>
                    <a:gd name="T16" fmla="*/ 0 h 16"/>
                    <a:gd name="T17" fmla="*/ 64 w 64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4" h="16">
                      <a:moveTo>
                        <a:pt x="0" y="16"/>
                      </a:moveTo>
                      <a:lnTo>
                        <a:pt x="16" y="16"/>
                      </a:lnTo>
                      <a:lnTo>
                        <a:pt x="64" y="0"/>
                      </a:lnTo>
                      <a:lnTo>
                        <a:pt x="24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27" name="Freeform 16">
                  <a:extLst>
                    <a:ext uri="{FF2B5EF4-FFF2-40B4-BE49-F238E27FC236}">
                      <a16:creationId xmlns:a16="http://schemas.microsoft.com/office/drawing/2014/main" id="{040EF9AC-D9E3-D81C-CA60-F67D66D64C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6" y="1928"/>
                  <a:ext cx="120" cy="72"/>
                </a:xfrm>
                <a:custGeom>
                  <a:avLst/>
                  <a:gdLst>
                    <a:gd name="T0" fmla="*/ 72 w 120"/>
                    <a:gd name="T1" fmla="*/ 0 h 72"/>
                    <a:gd name="T2" fmla="*/ 72 w 120"/>
                    <a:gd name="T3" fmla="*/ 8 h 72"/>
                    <a:gd name="T4" fmla="*/ 40 w 120"/>
                    <a:gd name="T5" fmla="*/ 8 h 72"/>
                    <a:gd name="T6" fmla="*/ 16 w 120"/>
                    <a:gd name="T7" fmla="*/ 32 h 72"/>
                    <a:gd name="T8" fmla="*/ 32 w 120"/>
                    <a:gd name="T9" fmla="*/ 24 h 72"/>
                    <a:gd name="T10" fmla="*/ 8 w 120"/>
                    <a:gd name="T11" fmla="*/ 48 h 72"/>
                    <a:gd name="T12" fmla="*/ 0 w 120"/>
                    <a:gd name="T13" fmla="*/ 64 h 72"/>
                    <a:gd name="T14" fmla="*/ 0 w 120"/>
                    <a:gd name="T15" fmla="*/ 72 h 72"/>
                    <a:gd name="T16" fmla="*/ 8 w 120"/>
                    <a:gd name="T17" fmla="*/ 72 h 72"/>
                    <a:gd name="T18" fmla="*/ 16 w 120"/>
                    <a:gd name="T19" fmla="*/ 64 h 72"/>
                    <a:gd name="T20" fmla="*/ 32 w 120"/>
                    <a:gd name="T21" fmla="*/ 40 h 72"/>
                    <a:gd name="T22" fmla="*/ 40 w 120"/>
                    <a:gd name="T23" fmla="*/ 24 h 72"/>
                    <a:gd name="T24" fmla="*/ 64 w 120"/>
                    <a:gd name="T25" fmla="*/ 16 h 72"/>
                    <a:gd name="T26" fmla="*/ 72 w 120"/>
                    <a:gd name="T27" fmla="*/ 16 h 72"/>
                    <a:gd name="T28" fmla="*/ 72 w 120"/>
                    <a:gd name="T29" fmla="*/ 32 h 72"/>
                    <a:gd name="T30" fmla="*/ 64 w 120"/>
                    <a:gd name="T31" fmla="*/ 40 h 72"/>
                    <a:gd name="T32" fmla="*/ 72 w 120"/>
                    <a:gd name="T33" fmla="*/ 40 h 72"/>
                    <a:gd name="T34" fmla="*/ 72 w 120"/>
                    <a:gd name="T35" fmla="*/ 48 h 72"/>
                    <a:gd name="T36" fmla="*/ 80 w 120"/>
                    <a:gd name="T37" fmla="*/ 48 h 72"/>
                    <a:gd name="T38" fmla="*/ 96 w 120"/>
                    <a:gd name="T39" fmla="*/ 16 h 72"/>
                    <a:gd name="T40" fmla="*/ 112 w 120"/>
                    <a:gd name="T41" fmla="*/ 32 h 72"/>
                    <a:gd name="T42" fmla="*/ 120 w 120"/>
                    <a:gd name="T43" fmla="*/ 24 h 72"/>
                    <a:gd name="T44" fmla="*/ 112 w 120"/>
                    <a:gd name="T45" fmla="*/ 8 h 72"/>
                    <a:gd name="T46" fmla="*/ 72 w 120"/>
                    <a:gd name="T47" fmla="*/ 0 h 7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20"/>
                    <a:gd name="T73" fmla="*/ 0 h 72"/>
                    <a:gd name="T74" fmla="*/ 120 w 120"/>
                    <a:gd name="T75" fmla="*/ 72 h 7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20" h="72">
                      <a:moveTo>
                        <a:pt x="72" y="0"/>
                      </a:moveTo>
                      <a:lnTo>
                        <a:pt x="72" y="8"/>
                      </a:lnTo>
                      <a:lnTo>
                        <a:pt x="40" y="8"/>
                      </a:lnTo>
                      <a:lnTo>
                        <a:pt x="16" y="32"/>
                      </a:lnTo>
                      <a:lnTo>
                        <a:pt x="32" y="24"/>
                      </a:lnTo>
                      <a:lnTo>
                        <a:pt x="8" y="48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16" y="64"/>
                      </a:lnTo>
                      <a:lnTo>
                        <a:pt x="32" y="40"/>
                      </a:lnTo>
                      <a:lnTo>
                        <a:pt x="40" y="24"/>
                      </a:lnTo>
                      <a:lnTo>
                        <a:pt x="64" y="16"/>
                      </a:lnTo>
                      <a:lnTo>
                        <a:pt x="72" y="16"/>
                      </a:lnTo>
                      <a:lnTo>
                        <a:pt x="72" y="32"/>
                      </a:lnTo>
                      <a:lnTo>
                        <a:pt x="64" y="40"/>
                      </a:lnTo>
                      <a:lnTo>
                        <a:pt x="72" y="40"/>
                      </a:lnTo>
                      <a:lnTo>
                        <a:pt x="72" y="48"/>
                      </a:lnTo>
                      <a:lnTo>
                        <a:pt x="80" y="48"/>
                      </a:lnTo>
                      <a:lnTo>
                        <a:pt x="96" y="16"/>
                      </a:lnTo>
                      <a:lnTo>
                        <a:pt x="112" y="32"/>
                      </a:lnTo>
                      <a:lnTo>
                        <a:pt x="120" y="24"/>
                      </a:lnTo>
                      <a:lnTo>
                        <a:pt x="112" y="8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28" name="Freeform 17">
                  <a:extLst>
                    <a:ext uri="{FF2B5EF4-FFF2-40B4-BE49-F238E27FC236}">
                      <a16:creationId xmlns:a16="http://schemas.microsoft.com/office/drawing/2014/main" id="{93297740-4718-4D78-1E30-F22FEC4F2D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0" y="1888"/>
                  <a:ext cx="96" cy="40"/>
                </a:xfrm>
                <a:custGeom>
                  <a:avLst/>
                  <a:gdLst>
                    <a:gd name="T0" fmla="*/ 88 w 96"/>
                    <a:gd name="T1" fmla="*/ 40 h 40"/>
                    <a:gd name="T2" fmla="*/ 96 w 96"/>
                    <a:gd name="T3" fmla="*/ 16 h 40"/>
                    <a:gd name="T4" fmla="*/ 80 w 96"/>
                    <a:gd name="T5" fmla="*/ 16 h 40"/>
                    <a:gd name="T6" fmla="*/ 80 w 96"/>
                    <a:gd name="T7" fmla="*/ 8 h 40"/>
                    <a:gd name="T8" fmla="*/ 64 w 96"/>
                    <a:gd name="T9" fmla="*/ 0 h 40"/>
                    <a:gd name="T10" fmla="*/ 32 w 96"/>
                    <a:gd name="T11" fmla="*/ 16 h 40"/>
                    <a:gd name="T12" fmla="*/ 40 w 96"/>
                    <a:gd name="T13" fmla="*/ 16 h 40"/>
                    <a:gd name="T14" fmla="*/ 32 w 96"/>
                    <a:gd name="T15" fmla="*/ 16 h 40"/>
                    <a:gd name="T16" fmla="*/ 0 w 96"/>
                    <a:gd name="T17" fmla="*/ 40 h 40"/>
                    <a:gd name="T18" fmla="*/ 16 w 96"/>
                    <a:gd name="T19" fmla="*/ 32 h 40"/>
                    <a:gd name="T20" fmla="*/ 16 w 96"/>
                    <a:gd name="T21" fmla="*/ 40 h 40"/>
                    <a:gd name="T22" fmla="*/ 56 w 96"/>
                    <a:gd name="T23" fmla="*/ 24 h 40"/>
                    <a:gd name="T24" fmla="*/ 40 w 96"/>
                    <a:gd name="T25" fmla="*/ 40 h 40"/>
                    <a:gd name="T26" fmla="*/ 56 w 96"/>
                    <a:gd name="T27" fmla="*/ 32 h 40"/>
                    <a:gd name="T28" fmla="*/ 56 w 96"/>
                    <a:gd name="T29" fmla="*/ 40 h 40"/>
                    <a:gd name="T30" fmla="*/ 88 w 96"/>
                    <a:gd name="T31" fmla="*/ 40 h 40"/>
                    <a:gd name="T32" fmla="*/ 80 w 96"/>
                    <a:gd name="T33" fmla="*/ 40 h 40"/>
                    <a:gd name="T34" fmla="*/ 88 w 96"/>
                    <a:gd name="T35" fmla="*/ 40 h 4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96"/>
                    <a:gd name="T55" fmla="*/ 0 h 40"/>
                    <a:gd name="T56" fmla="*/ 96 w 96"/>
                    <a:gd name="T57" fmla="*/ 40 h 4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96" h="40">
                      <a:moveTo>
                        <a:pt x="88" y="40"/>
                      </a:moveTo>
                      <a:lnTo>
                        <a:pt x="96" y="16"/>
                      </a:lnTo>
                      <a:lnTo>
                        <a:pt x="80" y="16"/>
                      </a:lnTo>
                      <a:lnTo>
                        <a:pt x="80" y="8"/>
                      </a:lnTo>
                      <a:lnTo>
                        <a:pt x="64" y="0"/>
                      </a:lnTo>
                      <a:lnTo>
                        <a:pt x="32" y="16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0" y="40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56" y="24"/>
                      </a:lnTo>
                      <a:lnTo>
                        <a:pt x="40" y="40"/>
                      </a:lnTo>
                      <a:lnTo>
                        <a:pt x="56" y="32"/>
                      </a:lnTo>
                      <a:lnTo>
                        <a:pt x="56" y="40"/>
                      </a:lnTo>
                      <a:lnTo>
                        <a:pt x="88" y="40"/>
                      </a:lnTo>
                      <a:lnTo>
                        <a:pt x="80" y="40"/>
                      </a:lnTo>
                      <a:lnTo>
                        <a:pt x="88" y="4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724" name="Freeform 18">
                <a:extLst>
                  <a:ext uri="{FF2B5EF4-FFF2-40B4-BE49-F238E27FC236}">
                    <a16:creationId xmlns:a16="http://schemas.microsoft.com/office/drawing/2014/main" id="{AAAD84E5-284C-54C2-E5EE-EF1011381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2" y="1832"/>
                <a:ext cx="16" cy="40"/>
              </a:xfrm>
              <a:custGeom>
                <a:avLst/>
                <a:gdLst>
                  <a:gd name="T0" fmla="*/ 0 w 16"/>
                  <a:gd name="T1" fmla="*/ 0 h 40"/>
                  <a:gd name="T2" fmla="*/ 0 w 16"/>
                  <a:gd name="T3" fmla="*/ 8 h 40"/>
                  <a:gd name="T4" fmla="*/ 8 w 16"/>
                  <a:gd name="T5" fmla="*/ 0 h 40"/>
                  <a:gd name="T6" fmla="*/ 8 w 16"/>
                  <a:gd name="T7" fmla="*/ 8 h 40"/>
                  <a:gd name="T8" fmla="*/ 0 w 16"/>
                  <a:gd name="T9" fmla="*/ 16 h 40"/>
                  <a:gd name="T10" fmla="*/ 8 w 16"/>
                  <a:gd name="T11" fmla="*/ 24 h 40"/>
                  <a:gd name="T12" fmla="*/ 0 w 16"/>
                  <a:gd name="T13" fmla="*/ 40 h 40"/>
                  <a:gd name="T14" fmla="*/ 8 w 16"/>
                  <a:gd name="T15" fmla="*/ 40 h 40"/>
                  <a:gd name="T16" fmla="*/ 8 w 16"/>
                  <a:gd name="T17" fmla="*/ 24 h 40"/>
                  <a:gd name="T18" fmla="*/ 16 w 16"/>
                  <a:gd name="T19" fmla="*/ 24 h 40"/>
                  <a:gd name="T20" fmla="*/ 0 w 16"/>
                  <a:gd name="T21" fmla="*/ 24 h 40"/>
                  <a:gd name="T22" fmla="*/ 16 w 16"/>
                  <a:gd name="T23" fmla="*/ 8 h 40"/>
                  <a:gd name="T24" fmla="*/ 8 w 16"/>
                  <a:gd name="T25" fmla="*/ 0 h 40"/>
                  <a:gd name="T26" fmla="*/ 0 w 16"/>
                  <a:gd name="T27" fmla="*/ 0 h 4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6"/>
                  <a:gd name="T43" fmla="*/ 0 h 40"/>
                  <a:gd name="T44" fmla="*/ 16 w 16"/>
                  <a:gd name="T45" fmla="*/ 40 h 4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6" h="40">
                    <a:moveTo>
                      <a:pt x="0" y="0"/>
                    </a:moveTo>
                    <a:lnTo>
                      <a:pt x="0" y="8"/>
                    </a:lnTo>
                    <a:lnTo>
                      <a:pt x="8" y="0"/>
                    </a:lnTo>
                    <a:lnTo>
                      <a:pt x="8" y="8"/>
                    </a:lnTo>
                    <a:lnTo>
                      <a:pt x="0" y="16"/>
                    </a:lnTo>
                    <a:lnTo>
                      <a:pt x="8" y="24"/>
                    </a:lnTo>
                    <a:lnTo>
                      <a:pt x="0" y="40"/>
                    </a:lnTo>
                    <a:lnTo>
                      <a:pt x="8" y="40"/>
                    </a:lnTo>
                    <a:lnTo>
                      <a:pt x="8" y="24"/>
                    </a:lnTo>
                    <a:lnTo>
                      <a:pt x="16" y="24"/>
                    </a:lnTo>
                    <a:lnTo>
                      <a:pt x="0" y="24"/>
                    </a:lnTo>
                    <a:lnTo>
                      <a:pt x="16" y="8"/>
                    </a:ln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79" name="Group 19">
              <a:extLst>
                <a:ext uri="{FF2B5EF4-FFF2-40B4-BE49-F238E27FC236}">
                  <a16:creationId xmlns:a16="http://schemas.microsoft.com/office/drawing/2014/main" id="{3C92B326-D8C3-F6BD-23DF-B9759BA0D200}"/>
                </a:ext>
              </a:extLst>
            </p:cNvPr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5524475" y="2967032"/>
              <a:ext cx="1952618" cy="501650"/>
              <a:chOff x="3484" y="1696"/>
              <a:chExt cx="904" cy="272"/>
            </a:xfrm>
            <a:grpFill/>
          </p:grpSpPr>
          <p:sp>
            <p:nvSpPr>
              <p:cNvPr id="713" name="Freeform 20">
                <a:extLst>
                  <a:ext uri="{FF2B5EF4-FFF2-40B4-BE49-F238E27FC236}">
                    <a16:creationId xmlns:a16="http://schemas.microsoft.com/office/drawing/2014/main" id="{BFF3205A-CBC2-6790-33DC-943F3C238B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2" y="1928"/>
                <a:ext cx="40" cy="40"/>
              </a:xfrm>
              <a:custGeom>
                <a:avLst/>
                <a:gdLst>
                  <a:gd name="T0" fmla="*/ 0 w 40"/>
                  <a:gd name="T1" fmla="*/ 24 h 40"/>
                  <a:gd name="T2" fmla="*/ 0 w 40"/>
                  <a:gd name="T3" fmla="*/ 40 h 40"/>
                  <a:gd name="T4" fmla="*/ 32 w 40"/>
                  <a:gd name="T5" fmla="*/ 40 h 40"/>
                  <a:gd name="T6" fmla="*/ 32 w 40"/>
                  <a:gd name="T7" fmla="*/ 32 h 40"/>
                  <a:gd name="T8" fmla="*/ 32 w 40"/>
                  <a:gd name="T9" fmla="*/ 24 h 40"/>
                  <a:gd name="T10" fmla="*/ 40 w 40"/>
                  <a:gd name="T11" fmla="*/ 24 h 40"/>
                  <a:gd name="T12" fmla="*/ 24 w 40"/>
                  <a:gd name="T13" fmla="*/ 8 h 40"/>
                  <a:gd name="T14" fmla="*/ 32 w 40"/>
                  <a:gd name="T15" fmla="*/ 0 h 40"/>
                  <a:gd name="T16" fmla="*/ 16 w 40"/>
                  <a:gd name="T17" fmla="*/ 0 h 40"/>
                  <a:gd name="T18" fmla="*/ 16 w 40"/>
                  <a:gd name="T19" fmla="*/ 8 h 40"/>
                  <a:gd name="T20" fmla="*/ 8 w 40"/>
                  <a:gd name="T21" fmla="*/ 0 h 40"/>
                  <a:gd name="T22" fmla="*/ 8 w 40"/>
                  <a:gd name="T23" fmla="*/ 8 h 40"/>
                  <a:gd name="T24" fmla="*/ 0 w 40"/>
                  <a:gd name="T25" fmla="*/ 8 h 40"/>
                  <a:gd name="T26" fmla="*/ 0 w 40"/>
                  <a:gd name="T27" fmla="*/ 24 h 4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0"/>
                  <a:gd name="T43" fmla="*/ 0 h 40"/>
                  <a:gd name="T44" fmla="*/ 40 w 40"/>
                  <a:gd name="T45" fmla="*/ 40 h 4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0" h="40">
                    <a:moveTo>
                      <a:pt x="0" y="24"/>
                    </a:moveTo>
                    <a:lnTo>
                      <a:pt x="0" y="40"/>
                    </a:lnTo>
                    <a:lnTo>
                      <a:pt x="32" y="40"/>
                    </a:lnTo>
                    <a:lnTo>
                      <a:pt x="32" y="32"/>
                    </a:lnTo>
                    <a:lnTo>
                      <a:pt x="32" y="24"/>
                    </a:lnTo>
                    <a:lnTo>
                      <a:pt x="40" y="24"/>
                    </a:lnTo>
                    <a:lnTo>
                      <a:pt x="24" y="8"/>
                    </a:lnTo>
                    <a:lnTo>
                      <a:pt x="32" y="0"/>
                    </a:lnTo>
                    <a:lnTo>
                      <a:pt x="16" y="0"/>
                    </a:lnTo>
                    <a:lnTo>
                      <a:pt x="16" y="8"/>
                    </a:lnTo>
                    <a:lnTo>
                      <a:pt x="8" y="0"/>
                    </a:lnTo>
                    <a:lnTo>
                      <a:pt x="8" y="8"/>
                    </a:lnTo>
                    <a:lnTo>
                      <a:pt x="0" y="8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4" name="Freeform 21">
                <a:extLst>
                  <a:ext uri="{FF2B5EF4-FFF2-40B4-BE49-F238E27FC236}">
                    <a16:creationId xmlns:a16="http://schemas.microsoft.com/office/drawing/2014/main" id="{936E862E-A516-B75E-CEB7-2695727F68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8" y="1928"/>
                <a:ext cx="64" cy="24"/>
              </a:xfrm>
              <a:custGeom>
                <a:avLst/>
                <a:gdLst>
                  <a:gd name="T0" fmla="*/ 0 w 64"/>
                  <a:gd name="T1" fmla="*/ 16 h 24"/>
                  <a:gd name="T2" fmla="*/ 8 w 64"/>
                  <a:gd name="T3" fmla="*/ 24 h 24"/>
                  <a:gd name="T4" fmla="*/ 8 w 64"/>
                  <a:gd name="T5" fmla="*/ 8 h 24"/>
                  <a:gd name="T6" fmla="*/ 16 w 64"/>
                  <a:gd name="T7" fmla="*/ 0 h 24"/>
                  <a:gd name="T8" fmla="*/ 40 w 64"/>
                  <a:gd name="T9" fmla="*/ 0 h 24"/>
                  <a:gd name="T10" fmla="*/ 48 w 64"/>
                  <a:gd name="T11" fmla="*/ 0 h 24"/>
                  <a:gd name="T12" fmla="*/ 64 w 64"/>
                  <a:gd name="T13" fmla="*/ 0 h 24"/>
                  <a:gd name="T14" fmla="*/ 8 w 64"/>
                  <a:gd name="T15" fmla="*/ 0 h 24"/>
                  <a:gd name="T16" fmla="*/ 0 w 64"/>
                  <a:gd name="T17" fmla="*/ 8 h 24"/>
                  <a:gd name="T18" fmla="*/ 0 w 64"/>
                  <a:gd name="T19" fmla="*/ 16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4"/>
                  <a:gd name="T31" fmla="*/ 0 h 24"/>
                  <a:gd name="T32" fmla="*/ 64 w 64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4" h="24">
                    <a:moveTo>
                      <a:pt x="0" y="16"/>
                    </a:moveTo>
                    <a:lnTo>
                      <a:pt x="8" y="24"/>
                    </a:lnTo>
                    <a:lnTo>
                      <a:pt x="8" y="8"/>
                    </a:lnTo>
                    <a:lnTo>
                      <a:pt x="16" y="0"/>
                    </a:lnTo>
                    <a:lnTo>
                      <a:pt x="40" y="0"/>
                    </a:lnTo>
                    <a:lnTo>
                      <a:pt x="48" y="0"/>
                    </a:lnTo>
                    <a:lnTo>
                      <a:pt x="64" y="0"/>
                    </a:lnTo>
                    <a:lnTo>
                      <a:pt x="8" y="0"/>
                    </a:lnTo>
                    <a:lnTo>
                      <a:pt x="0" y="8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5" name="Freeform 22">
                <a:extLst>
                  <a:ext uri="{FF2B5EF4-FFF2-40B4-BE49-F238E27FC236}">
                    <a16:creationId xmlns:a16="http://schemas.microsoft.com/office/drawing/2014/main" id="{9F2F46EE-091E-FCD9-8A69-B2F0D59AC6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8" y="1792"/>
                <a:ext cx="40" cy="64"/>
              </a:xfrm>
              <a:custGeom>
                <a:avLst/>
                <a:gdLst>
                  <a:gd name="T0" fmla="*/ 0 w 40"/>
                  <a:gd name="T1" fmla="*/ 64 h 64"/>
                  <a:gd name="T2" fmla="*/ 8 w 40"/>
                  <a:gd name="T3" fmla="*/ 64 h 64"/>
                  <a:gd name="T4" fmla="*/ 24 w 40"/>
                  <a:gd name="T5" fmla="*/ 64 h 64"/>
                  <a:gd name="T6" fmla="*/ 24 w 40"/>
                  <a:gd name="T7" fmla="*/ 56 h 64"/>
                  <a:gd name="T8" fmla="*/ 40 w 40"/>
                  <a:gd name="T9" fmla="*/ 48 h 64"/>
                  <a:gd name="T10" fmla="*/ 40 w 40"/>
                  <a:gd name="T11" fmla="*/ 24 h 64"/>
                  <a:gd name="T12" fmla="*/ 32 w 40"/>
                  <a:gd name="T13" fmla="*/ 0 h 64"/>
                  <a:gd name="T14" fmla="*/ 24 w 40"/>
                  <a:gd name="T15" fmla="*/ 0 h 64"/>
                  <a:gd name="T16" fmla="*/ 32 w 40"/>
                  <a:gd name="T17" fmla="*/ 24 h 64"/>
                  <a:gd name="T18" fmla="*/ 16 w 40"/>
                  <a:gd name="T19" fmla="*/ 56 h 64"/>
                  <a:gd name="T20" fmla="*/ 0 w 40"/>
                  <a:gd name="T21" fmla="*/ 64 h 6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64"/>
                  <a:gd name="T35" fmla="*/ 40 w 40"/>
                  <a:gd name="T36" fmla="*/ 64 h 6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64">
                    <a:moveTo>
                      <a:pt x="0" y="64"/>
                    </a:moveTo>
                    <a:lnTo>
                      <a:pt x="8" y="64"/>
                    </a:lnTo>
                    <a:lnTo>
                      <a:pt x="24" y="64"/>
                    </a:lnTo>
                    <a:lnTo>
                      <a:pt x="24" y="56"/>
                    </a:lnTo>
                    <a:lnTo>
                      <a:pt x="40" y="48"/>
                    </a:lnTo>
                    <a:lnTo>
                      <a:pt x="40" y="24"/>
                    </a:lnTo>
                    <a:lnTo>
                      <a:pt x="32" y="0"/>
                    </a:lnTo>
                    <a:lnTo>
                      <a:pt x="24" y="0"/>
                    </a:lnTo>
                    <a:lnTo>
                      <a:pt x="32" y="24"/>
                    </a:lnTo>
                    <a:lnTo>
                      <a:pt x="16" y="56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6" name="Freeform 23">
                <a:extLst>
                  <a:ext uri="{FF2B5EF4-FFF2-40B4-BE49-F238E27FC236}">
                    <a16:creationId xmlns:a16="http://schemas.microsoft.com/office/drawing/2014/main" id="{A944FA3D-F4F3-015C-3AE8-74789D7FC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4" y="1712"/>
                <a:ext cx="32" cy="24"/>
              </a:xfrm>
              <a:custGeom>
                <a:avLst/>
                <a:gdLst>
                  <a:gd name="T0" fmla="*/ 0 w 32"/>
                  <a:gd name="T1" fmla="*/ 8 h 24"/>
                  <a:gd name="T2" fmla="*/ 16 w 32"/>
                  <a:gd name="T3" fmla="*/ 24 h 24"/>
                  <a:gd name="T4" fmla="*/ 32 w 32"/>
                  <a:gd name="T5" fmla="*/ 16 h 24"/>
                  <a:gd name="T6" fmla="*/ 24 w 32"/>
                  <a:gd name="T7" fmla="*/ 8 h 24"/>
                  <a:gd name="T8" fmla="*/ 16 w 32"/>
                  <a:gd name="T9" fmla="*/ 0 h 24"/>
                  <a:gd name="T10" fmla="*/ 8 w 32"/>
                  <a:gd name="T11" fmla="*/ 0 h 24"/>
                  <a:gd name="T12" fmla="*/ 0 w 32"/>
                  <a:gd name="T13" fmla="*/ 8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24"/>
                  <a:gd name="T23" fmla="*/ 32 w 32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24">
                    <a:moveTo>
                      <a:pt x="0" y="8"/>
                    </a:moveTo>
                    <a:lnTo>
                      <a:pt x="16" y="24"/>
                    </a:lnTo>
                    <a:lnTo>
                      <a:pt x="32" y="16"/>
                    </a:lnTo>
                    <a:lnTo>
                      <a:pt x="24" y="8"/>
                    </a:lnTo>
                    <a:lnTo>
                      <a:pt x="16" y="0"/>
                    </a:lnTo>
                    <a:lnTo>
                      <a:pt x="8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7" name="Freeform 24">
                <a:extLst>
                  <a:ext uri="{FF2B5EF4-FFF2-40B4-BE49-F238E27FC236}">
                    <a16:creationId xmlns:a16="http://schemas.microsoft.com/office/drawing/2014/main" id="{478A4676-5F74-6E4B-55A6-6D939D0A6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" y="1696"/>
                <a:ext cx="24" cy="24"/>
              </a:xfrm>
              <a:custGeom>
                <a:avLst/>
                <a:gdLst>
                  <a:gd name="T0" fmla="*/ 8 w 24"/>
                  <a:gd name="T1" fmla="*/ 16 h 24"/>
                  <a:gd name="T2" fmla="*/ 16 w 24"/>
                  <a:gd name="T3" fmla="*/ 16 h 24"/>
                  <a:gd name="T4" fmla="*/ 16 w 24"/>
                  <a:gd name="T5" fmla="*/ 24 h 24"/>
                  <a:gd name="T6" fmla="*/ 24 w 24"/>
                  <a:gd name="T7" fmla="*/ 24 h 24"/>
                  <a:gd name="T8" fmla="*/ 16 w 24"/>
                  <a:gd name="T9" fmla="*/ 8 h 24"/>
                  <a:gd name="T10" fmla="*/ 8 w 24"/>
                  <a:gd name="T11" fmla="*/ 0 h 24"/>
                  <a:gd name="T12" fmla="*/ 0 w 24"/>
                  <a:gd name="T13" fmla="*/ 0 h 24"/>
                  <a:gd name="T14" fmla="*/ 16 w 24"/>
                  <a:gd name="T15" fmla="*/ 8 h 24"/>
                  <a:gd name="T16" fmla="*/ 8 w 24"/>
                  <a:gd name="T17" fmla="*/ 8 h 24"/>
                  <a:gd name="T18" fmla="*/ 8 w 24"/>
                  <a:gd name="T19" fmla="*/ 16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4"/>
                  <a:gd name="T31" fmla="*/ 0 h 24"/>
                  <a:gd name="T32" fmla="*/ 24 w 24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4" h="24">
                    <a:moveTo>
                      <a:pt x="8" y="16"/>
                    </a:moveTo>
                    <a:lnTo>
                      <a:pt x="16" y="16"/>
                    </a:lnTo>
                    <a:lnTo>
                      <a:pt x="16" y="24"/>
                    </a:lnTo>
                    <a:lnTo>
                      <a:pt x="24" y="24"/>
                    </a:lnTo>
                    <a:lnTo>
                      <a:pt x="16" y="8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16" y="8"/>
                    </a:lnTo>
                    <a:lnTo>
                      <a:pt x="8" y="8"/>
                    </a:lnTo>
                    <a:lnTo>
                      <a:pt x="8" y="1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80" name="Group 25">
              <a:extLst>
                <a:ext uri="{FF2B5EF4-FFF2-40B4-BE49-F238E27FC236}">
                  <a16:creationId xmlns:a16="http://schemas.microsoft.com/office/drawing/2014/main" id="{ECEFF3F4-BE5B-B582-7348-302F11B5ED8E}"/>
                </a:ext>
              </a:extLst>
            </p:cNvPr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5143546" y="4295737"/>
              <a:ext cx="639767" cy="795331"/>
              <a:chOff x="3308" y="2416"/>
              <a:chExt cx="296" cy="432"/>
            </a:xfrm>
            <a:grpFill/>
          </p:grpSpPr>
          <p:sp>
            <p:nvSpPr>
              <p:cNvPr id="709" name="Freeform 26">
                <a:extLst>
                  <a:ext uri="{FF2B5EF4-FFF2-40B4-BE49-F238E27FC236}">
                    <a16:creationId xmlns:a16="http://schemas.microsoft.com/office/drawing/2014/main" id="{DE5A0568-4E0F-ABDA-7D3C-3A594A5F87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8" y="2416"/>
                <a:ext cx="32" cy="24"/>
              </a:xfrm>
              <a:custGeom>
                <a:avLst/>
                <a:gdLst>
                  <a:gd name="T0" fmla="*/ 0 w 32"/>
                  <a:gd name="T1" fmla="*/ 0 h 24"/>
                  <a:gd name="T2" fmla="*/ 16 w 32"/>
                  <a:gd name="T3" fmla="*/ 24 h 24"/>
                  <a:gd name="T4" fmla="*/ 32 w 32"/>
                  <a:gd name="T5" fmla="*/ 16 h 24"/>
                  <a:gd name="T6" fmla="*/ 32 w 32"/>
                  <a:gd name="T7" fmla="*/ 8 h 24"/>
                  <a:gd name="T8" fmla="*/ 16 w 32"/>
                  <a:gd name="T9" fmla="*/ 8 h 24"/>
                  <a:gd name="T10" fmla="*/ 16 w 32"/>
                  <a:gd name="T11" fmla="*/ 0 h 24"/>
                  <a:gd name="T12" fmla="*/ 0 w 32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24"/>
                  <a:gd name="T23" fmla="*/ 32 w 32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24">
                    <a:moveTo>
                      <a:pt x="0" y="0"/>
                    </a:moveTo>
                    <a:lnTo>
                      <a:pt x="16" y="24"/>
                    </a:lnTo>
                    <a:lnTo>
                      <a:pt x="32" y="16"/>
                    </a:lnTo>
                    <a:lnTo>
                      <a:pt x="32" y="8"/>
                    </a:lnTo>
                    <a:lnTo>
                      <a:pt x="16" y="8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0" name="Freeform 27">
                <a:extLst>
                  <a:ext uri="{FF2B5EF4-FFF2-40B4-BE49-F238E27FC236}">
                    <a16:creationId xmlns:a16="http://schemas.microsoft.com/office/drawing/2014/main" id="{9177C835-0228-FEDA-5DAD-41773763E2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" y="2624"/>
                <a:ext cx="40" cy="48"/>
              </a:xfrm>
              <a:custGeom>
                <a:avLst/>
                <a:gdLst>
                  <a:gd name="T0" fmla="*/ 0 w 40"/>
                  <a:gd name="T1" fmla="*/ 40 h 48"/>
                  <a:gd name="T2" fmla="*/ 8 w 40"/>
                  <a:gd name="T3" fmla="*/ 48 h 48"/>
                  <a:gd name="T4" fmla="*/ 8 w 40"/>
                  <a:gd name="T5" fmla="*/ 40 h 48"/>
                  <a:gd name="T6" fmla="*/ 24 w 40"/>
                  <a:gd name="T7" fmla="*/ 48 h 48"/>
                  <a:gd name="T8" fmla="*/ 32 w 40"/>
                  <a:gd name="T9" fmla="*/ 40 h 48"/>
                  <a:gd name="T10" fmla="*/ 24 w 40"/>
                  <a:gd name="T11" fmla="*/ 40 h 48"/>
                  <a:gd name="T12" fmla="*/ 40 w 40"/>
                  <a:gd name="T13" fmla="*/ 16 h 48"/>
                  <a:gd name="T14" fmla="*/ 32 w 40"/>
                  <a:gd name="T15" fmla="*/ 8 h 48"/>
                  <a:gd name="T16" fmla="*/ 24 w 40"/>
                  <a:gd name="T17" fmla="*/ 0 h 48"/>
                  <a:gd name="T18" fmla="*/ 8 w 40"/>
                  <a:gd name="T19" fmla="*/ 8 h 48"/>
                  <a:gd name="T20" fmla="*/ 0 w 40"/>
                  <a:gd name="T21" fmla="*/ 40 h 4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48"/>
                  <a:gd name="T35" fmla="*/ 40 w 40"/>
                  <a:gd name="T36" fmla="*/ 48 h 4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48">
                    <a:moveTo>
                      <a:pt x="0" y="40"/>
                    </a:moveTo>
                    <a:lnTo>
                      <a:pt x="8" y="48"/>
                    </a:lnTo>
                    <a:lnTo>
                      <a:pt x="8" y="40"/>
                    </a:lnTo>
                    <a:lnTo>
                      <a:pt x="24" y="48"/>
                    </a:lnTo>
                    <a:lnTo>
                      <a:pt x="32" y="40"/>
                    </a:lnTo>
                    <a:lnTo>
                      <a:pt x="24" y="40"/>
                    </a:lnTo>
                    <a:lnTo>
                      <a:pt x="40" y="16"/>
                    </a:lnTo>
                    <a:lnTo>
                      <a:pt x="32" y="8"/>
                    </a:lnTo>
                    <a:lnTo>
                      <a:pt x="24" y="0"/>
                    </a:lnTo>
                    <a:lnTo>
                      <a:pt x="8" y="8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1" name="Freeform 28">
                <a:extLst>
                  <a:ext uri="{FF2B5EF4-FFF2-40B4-BE49-F238E27FC236}">
                    <a16:creationId xmlns:a16="http://schemas.microsoft.com/office/drawing/2014/main" id="{B8FCC767-3799-120F-9019-C8F7178A6D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" y="2680"/>
                <a:ext cx="24" cy="80"/>
              </a:xfrm>
              <a:custGeom>
                <a:avLst/>
                <a:gdLst>
                  <a:gd name="T0" fmla="*/ 0 w 24"/>
                  <a:gd name="T1" fmla="*/ 40 h 80"/>
                  <a:gd name="T2" fmla="*/ 16 w 24"/>
                  <a:gd name="T3" fmla="*/ 64 h 80"/>
                  <a:gd name="T4" fmla="*/ 16 w 24"/>
                  <a:gd name="T5" fmla="*/ 80 h 80"/>
                  <a:gd name="T6" fmla="*/ 24 w 24"/>
                  <a:gd name="T7" fmla="*/ 80 h 80"/>
                  <a:gd name="T8" fmla="*/ 24 w 24"/>
                  <a:gd name="T9" fmla="*/ 56 h 80"/>
                  <a:gd name="T10" fmla="*/ 8 w 24"/>
                  <a:gd name="T11" fmla="*/ 48 h 80"/>
                  <a:gd name="T12" fmla="*/ 16 w 24"/>
                  <a:gd name="T13" fmla="*/ 40 h 80"/>
                  <a:gd name="T14" fmla="*/ 0 w 24"/>
                  <a:gd name="T15" fmla="*/ 0 h 80"/>
                  <a:gd name="T16" fmla="*/ 0 w 24"/>
                  <a:gd name="T17" fmla="*/ 8 h 80"/>
                  <a:gd name="T18" fmla="*/ 0 w 24"/>
                  <a:gd name="T19" fmla="*/ 40 h 8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4"/>
                  <a:gd name="T31" fmla="*/ 0 h 80"/>
                  <a:gd name="T32" fmla="*/ 24 w 24"/>
                  <a:gd name="T33" fmla="*/ 80 h 8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4" h="80">
                    <a:moveTo>
                      <a:pt x="0" y="40"/>
                    </a:moveTo>
                    <a:lnTo>
                      <a:pt x="16" y="64"/>
                    </a:lnTo>
                    <a:lnTo>
                      <a:pt x="16" y="80"/>
                    </a:lnTo>
                    <a:lnTo>
                      <a:pt x="24" y="80"/>
                    </a:lnTo>
                    <a:lnTo>
                      <a:pt x="24" y="56"/>
                    </a:lnTo>
                    <a:lnTo>
                      <a:pt x="8" y="48"/>
                    </a:lnTo>
                    <a:lnTo>
                      <a:pt x="16" y="40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2" name="Freeform 29">
                <a:extLst>
                  <a:ext uri="{FF2B5EF4-FFF2-40B4-BE49-F238E27FC236}">
                    <a16:creationId xmlns:a16="http://schemas.microsoft.com/office/drawing/2014/main" id="{0FBFCFAA-746F-6699-8EC3-6EA299A80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8" y="2776"/>
                <a:ext cx="16" cy="72"/>
              </a:xfrm>
              <a:custGeom>
                <a:avLst/>
                <a:gdLst>
                  <a:gd name="T0" fmla="*/ 0 w 16"/>
                  <a:gd name="T1" fmla="*/ 40 h 72"/>
                  <a:gd name="T2" fmla="*/ 8 w 16"/>
                  <a:gd name="T3" fmla="*/ 56 h 72"/>
                  <a:gd name="T4" fmla="*/ 16 w 16"/>
                  <a:gd name="T5" fmla="*/ 72 h 72"/>
                  <a:gd name="T6" fmla="*/ 8 w 16"/>
                  <a:gd name="T7" fmla="*/ 48 h 72"/>
                  <a:gd name="T8" fmla="*/ 16 w 16"/>
                  <a:gd name="T9" fmla="*/ 32 h 72"/>
                  <a:gd name="T10" fmla="*/ 8 w 16"/>
                  <a:gd name="T11" fmla="*/ 8 h 72"/>
                  <a:gd name="T12" fmla="*/ 0 w 16"/>
                  <a:gd name="T13" fmla="*/ 0 h 72"/>
                  <a:gd name="T14" fmla="*/ 8 w 16"/>
                  <a:gd name="T15" fmla="*/ 32 h 72"/>
                  <a:gd name="T16" fmla="*/ 0 w 16"/>
                  <a:gd name="T17" fmla="*/ 40 h 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72"/>
                  <a:gd name="T29" fmla="*/ 16 w 16"/>
                  <a:gd name="T30" fmla="*/ 72 h 7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72">
                    <a:moveTo>
                      <a:pt x="0" y="40"/>
                    </a:moveTo>
                    <a:lnTo>
                      <a:pt x="8" y="56"/>
                    </a:lnTo>
                    <a:lnTo>
                      <a:pt x="16" y="72"/>
                    </a:lnTo>
                    <a:lnTo>
                      <a:pt x="8" y="48"/>
                    </a:lnTo>
                    <a:lnTo>
                      <a:pt x="16" y="32"/>
                    </a:lnTo>
                    <a:lnTo>
                      <a:pt x="8" y="8"/>
                    </a:lnTo>
                    <a:lnTo>
                      <a:pt x="0" y="0"/>
                    </a:lnTo>
                    <a:lnTo>
                      <a:pt x="8" y="32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81" name="Freeform 30">
              <a:extLst>
                <a:ext uri="{FF2B5EF4-FFF2-40B4-BE49-F238E27FC236}">
                  <a16:creationId xmlns:a16="http://schemas.microsoft.com/office/drawing/2014/main" id="{55EFDBD6-BD06-2987-3C11-E2786D656291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348163" y="4338638"/>
              <a:ext cx="207963" cy="147638"/>
            </a:xfrm>
            <a:custGeom>
              <a:avLst/>
              <a:gdLst>
                <a:gd name="T0" fmla="*/ 173303 w 96"/>
                <a:gd name="T1" fmla="*/ 147638 h 80"/>
                <a:gd name="T2" fmla="*/ 190633 w 96"/>
                <a:gd name="T3" fmla="*/ 132874 h 80"/>
                <a:gd name="T4" fmla="*/ 190633 w 96"/>
                <a:gd name="T5" fmla="*/ 118110 h 80"/>
                <a:gd name="T6" fmla="*/ 207963 w 96"/>
                <a:gd name="T7" fmla="*/ 118110 h 80"/>
                <a:gd name="T8" fmla="*/ 190633 w 96"/>
                <a:gd name="T9" fmla="*/ 88583 h 80"/>
                <a:gd name="T10" fmla="*/ 190633 w 96"/>
                <a:gd name="T11" fmla="*/ 59055 h 80"/>
                <a:gd name="T12" fmla="*/ 155972 w 96"/>
                <a:gd name="T13" fmla="*/ 0 h 80"/>
                <a:gd name="T14" fmla="*/ 121312 w 96"/>
                <a:gd name="T15" fmla="*/ 14764 h 80"/>
                <a:gd name="T16" fmla="*/ 103982 w 96"/>
                <a:gd name="T17" fmla="*/ 0 h 80"/>
                <a:gd name="T18" fmla="*/ 34661 w 96"/>
                <a:gd name="T19" fmla="*/ 0 h 80"/>
                <a:gd name="T20" fmla="*/ 34661 w 96"/>
                <a:gd name="T21" fmla="*/ 29528 h 80"/>
                <a:gd name="T22" fmla="*/ 0 w 96"/>
                <a:gd name="T23" fmla="*/ 29528 h 80"/>
                <a:gd name="T24" fmla="*/ 0 w 96"/>
                <a:gd name="T25" fmla="*/ 44291 h 80"/>
                <a:gd name="T26" fmla="*/ 34661 w 96"/>
                <a:gd name="T27" fmla="*/ 88583 h 80"/>
                <a:gd name="T28" fmla="*/ 69321 w 96"/>
                <a:gd name="T29" fmla="*/ 73819 h 80"/>
                <a:gd name="T30" fmla="*/ 103982 w 96"/>
                <a:gd name="T31" fmla="*/ 73819 h 80"/>
                <a:gd name="T32" fmla="*/ 121312 w 96"/>
                <a:gd name="T33" fmla="*/ 103347 h 80"/>
                <a:gd name="T34" fmla="*/ 121312 w 96"/>
                <a:gd name="T35" fmla="*/ 118110 h 80"/>
                <a:gd name="T36" fmla="*/ 138642 w 96"/>
                <a:gd name="T37" fmla="*/ 118110 h 80"/>
                <a:gd name="T38" fmla="*/ 155972 w 96"/>
                <a:gd name="T39" fmla="*/ 147638 h 80"/>
                <a:gd name="T40" fmla="*/ 173303 w 96"/>
                <a:gd name="T41" fmla="*/ 147638 h 8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6"/>
                <a:gd name="T64" fmla="*/ 0 h 80"/>
                <a:gd name="T65" fmla="*/ 96 w 96"/>
                <a:gd name="T66" fmla="*/ 80 h 8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6" h="80">
                  <a:moveTo>
                    <a:pt x="80" y="80"/>
                  </a:moveTo>
                  <a:lnTo>
                    <a:pt x="88" y="72"/>
                  </a:lnTo>
                  <a:lnTo>
                    <a:pt x="88" y="64"/>
                  </a:lnTo>
                  <a:lnTo>
                    <a:pt x="96" y="64"/>
                  </a:lnTo>
                  <a:lnTo>
                    <a:pt x="88" y="48"/>
                  </a:lnTo>
                  <a:lnTo>
                    <a:pt x="88" y="32"/>
                  </a:lnTo>
                  <a:lnTo>
                    <a:pt x="72" y="0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16" y="48"/>
                  </a:lnTo>
                  <a:lnTo>
                    <a:pt x="32" y="40"/>
                  </a:lnTo>
                  <a:lnTo>
                    <a:pt x="48" y="40"/>
                  </a:lnTo>
                  <a:lnTo>
                    <a:pt x="56" y="56"/>
                  </a:lnTo>
                  <a:lnTo>
                    <a:pt x="56" y="64"/>
                  </a:lnTo>
                  <a:lnTo>
                    <a:pt x="64" y="64"/>
                  </a:lnTo>
                  <a:lnTo>
                    <a:pt x="72" y="80"/>
                  </a:lnTo>
                  <a:lnTo>
                    <a:pt x="80" y="8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2" name="Freeform 31">
              <a:extLst>
                <a:ext uri="{FF2B5EF4-FFF2-40B4-BE49-F238E27FC236}">
                  <a16:creationId xmlns:a16="http://schemas.microsoft.com/office/drawing/2014/main" id="{3FD314B7-3C2B-1199-374D-9DA65A0E3BB5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126038" y="4546601"/>
              <a:ext cx="554038" cy="515938"/>
            </a:xfrm>
            <a:custGeom>
              <a:avLst/>
              <a:gdLst>
                <a:gd name="T0" fmla="*/ 311646 w 256"/>
                <a:gd name="T1" fmla="*/ 14741 h 280"/>
                <a:gd name="T2" fmla="*/ 294333 w 256"/>
                <a:gd name="T3" fmla="*/ 29482 h 280"/>
                <a:gd name="T4" fmla="*/ 242392 w 256"/>
                <a:gd name="T5" fmla="*/ 14741 h 280"/>
                <a:gd name="T6" fmla="*/ 225078 w 256"/>
                <a:gd name="T7" fmla="*/ 0 h 280"/>
                <a:gd name="T8" fmla="*/ 207764 w 256"/>
                <a:gd name="T9" fmla="*/ 0 h 280"/>
                <a:gd name="T10" fmla="*/ 190451 w 256"/>
                <a:gd name="T11" fmla="*/ 44223 h 280"/>
                <a:gd name="T12" fmla="*/ 173137 w 256"/>
                <a:gd name="T13" fmla="*/ 88447 h 280"/>
                <a:gd name="T14" fmla="*/ 155823 w 256"/>
                <a:gd name="T15" fmla="*/ 162152 h 280"/>
                <a:gd name="T16" fmla="*/ 121196 w 256"/>
                <a:gd name="T17" fmla="*/ 206375 h 280"/>
                <a:gd name="T18" fmla="*/ 103882 w 256"/>
                <a:gd name="T19" fmla="*/ 250598 h 280"/>
                <a:gd name="T20" fmla="*/ 69255 w 256"/>
                <a:gd name="T21" fmla="*/ 280081 h 280"/>
                <a:gd name="T22" fmla="*/ 51941 w 256"/>
                <a:gd name="T23" fmla="*/ 265340 h 280"/>
                <a:gd name="T24" fmla="*/ 34627 w 256"/>
                <a:gd name="T25" fmla="*/ 280081 h 280"/>
                <a:gd name="T26" fmla="*/ 17314 w 256"/>
                <a:gd name="T27" fmla="*/ 280081 h 280"/>
                <a:gd name="T28" fmla="*/ 0 w 256"/>
                <a:gd name="T29" fmla="*/ 280081 h 280"/>
                <a:gd name="T30" fmla="*/ 0 w 256"/>
                <a:gd name="T31" fmla="*/ 309563 h 280"/>
                <a:gd name="T32" fmla="*/ 0 w 256"/>
                <a:gd name="T33" fmla="*/ 324304 h 280"/>
                <a:gd name="T34" fmla="*/ 34627 w 256"/>
                <a:gd name="T35" fmla="*/ 309563 h 280"/>
                <a:gd name="T36" fmla="*/ 103882 w 256"/>
                <a:gd name="T37" fmla="*/ 309563 h 280"/>
                <a:gd name="T38" fmla="*/ 121196 w 256"/>
                <a:gd name="T39" fmla="*/ 309563 h 280"/>
                <a:gd name="T40" fmla="*/ 138510 w 256"/>
                <a:gd name="T41" fmla="*/ 353786 h 280"/>
                <a:gd name="T42" fmla="*/ 155823 w 256"/>
                <a:gd name="T43" fmla="*/ 368527 h 280"/>
                <a:gd name="T44" fmla="*/ 207764 w 256"/>
                <a:gd name="T45" fmla="*/ 368527 h 280"/>
                <a:gd name="T46" fmla="*/ 207764 w 256"/>
                <a:gd name="T47" fmla="*/ 339045 h 280"/>
                <a:gd name="T48" fmla="*/ 242392 w 256"/>
                <a:gd name="T49" fmla="*/ 339045 h 280"/>
                <a:gd name="T50" fmla="*/ 277019 w 256"/>
                <a:gd name="T51" fmla="*/ 353786 h 280"/>
                <a:gd name="T52" fmla="*/ 277019 w 256"/>
                <a:gd name="T53" fmla="*/ 412750 h 280"/>
                <a:gd name="T54" fmla="*/ 294333 w 256"/>
                <a:gd name="T55" fmla="*/ 442232 h 280"/>
                <a:gd name="T56" fmla="*/ 277019 w 256"/>
                <a:gd name="T57" fmla="*/ 456974 h 280"/>
                <a:gd name="T58" fmla="*/ 346274 w 256"/>
                <a:gd name="T59" fmla="*/ 442232 h 280"/>
                <a:gd name="T60" fmla="*/ 398215 w 256"/>
                <a:gd name="T61" fmla="*/ 471715 h 280"/>
                <a:gd name="T62" fmla="*/ 415528 w 256"/>
                <a:gd name="T63" fmla="*/ 471715 h 280"/>
                <a:gd name="T64" fmla="*/ 467469 w 256"/>
                <a:gd name="T65" fmla="*/ 501197 h 280"/>
                <a:gd name="T66" fmla="*/ 502097 w 256"/>
                <a:gd name="T67" fmla="*/ 515938 h 280"/>
                <a:gd name="T68" fmla="*/ 502097 w 256"/>
                <a:gd name="T69" fmla="*/ 486456 h 280"/>
                <a:gd name="T70" fmla="*/ 484783 w 256"/>
                <a:gd name="T71" fmla="*/ 486456 h 280"/>
                <a:gd name="T72" fmla="*/ 467469 w 256"/>
                <a:gd name="T73" fmla="*/ 471715 h 280"/>
                <a:gd name="T74" fmla="*/ 484783 w 256"/>
                <a:gd name="T75" fmla="*/ 398009 h 280"/>
                <a:gd name="T76" fmla="*/ 484783 w 256"/>
                <a:gd name="T77" fmla="*/ 383268 h 280"/>
                <a:gd name="T78" fmla="*/ 519411 w 256"/>
                <a:gd name="T79" fmla="*/ 368527 h 280"/>
                <a:gd name="T80" fmla="*/ 536724 w 256"/>
                <a:gd name="T81" fmla="*/ 368527 h 280"/>
                <a:gd name="T82" fmla="*/ 502097 w 256"/>
                <a:gd name="T83" fmla="*/ 324304 h 280"/>
                <a:gd name="T84" fmla="*/ 502097 w 256"/>
                <a:gd name="T85" fmla="*/ 265340 h 280"/>
                <a:gd name="T86" fmla="*/ 502097 w 256"/>
                <a:gd name="T87" fmla="*/ 235857 h 280"/>
                <a:gd name="T88" fmla="*/ 484783 w 256"/>
                <a:gd name="T89" fmla="*/ 221116 h 280"/>
                <a:gd name="T90" fmla="*/ 484783 w 256"/>
                <a:gd name="T91" fmla="*/ 206375 h 280"/>
                <a:gd name="T92" fmla="*/ 502097 w 256"/>
                <a:gd name="T93" fmla="*/ 176893 h 280"/>
                <a:gd name="T94" fmla="*/ 519411 w 256"/>
                <a:gd name="T95" fmla="*/ 132670 h 280"/>
                <a:gd name="T96" fmla="*/ 536724 w 256"/>
                <a:gd name="T97" fmla="*/ 103188 h 280"/>
                <a:gd name="T98" fmla="*/ 554038 w 256"/>
                <a:gd name="T99" fmla="*/ 88447 h 280"/>
                <a:gd name="T100" fmla="*/ 536724 w 256"/>
                <a:gd name="T101" fmla="*/ 73705 h 280"/>
                <a:gd name="T102" fmla="*/ 536724 w 256"/>
                <a:gd name="T103" fmla="*/ 44223 h 280"/>
                <a:gd name="T104" fmla="*/ 502097 w 256"/>
                <a:gd name="T105" fmla="*/ 14741 h 280"/>
                <a:gd name="T106" fmla="*/ 467469 w 256"/>
                <a:gd name="T107" fmla="*/ 14741 h 280"/>
                <a:gd name="T108" fmla="*/ 450156 w 256"/>
                <a:gd name="T109" fmla="*/ 0 h 280"/>
                <a:gd name="T110" fmla="*/ 311646 w 256"/>
                <a:gd name="T111" fmla="*/ 14741 h 28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6"/>
                <a:gd name="T169" fmla="*/ 0 h 280"/>
                <a:gd name="T170" fmla="*/ 256 w 256"/>
                <a:gd name="T171" fmla="*/ 280 h 28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6" h="280">
                  <a:moveTo>
                    <a:pt x="144" y="8"/>
                  </a:moveTo>
                  <a:lnTo>
                    <a:pt x="136" y="16"/>
                  </a:lnTo>
                  <a:lnTo>
                    <a:pt x="112" y="8"/>
                  </a:lnTo>
                  <a:lnTo>
                    <a:pt x="104" y="0"/>
                  </a:lnTo>
                  <a:lnTo>
                    <a:pt x="96" y="0"/>
                  </a:lnTo>
                  <a:lnTo>
                    <a:pt x="88" y="24"/>
                  </a:lnTo>
                  <a:lnTo>
                    <a:pt x="80" y="48"/>
                  </a:lnTo>
                  <a:lnTo>
                    <a:pt x="72" y="88"/>
                  </a:lnTo>
                  <a:lnTo>
                    <a:pt x="56" y="112"/>
                  </a:lnTo>
                  <a:lnTo>
                    <a:pt x="48" y="136"/>
                  </a:lnTo>
                  <a:lnTo>
                    <a:pt x="32" y="152"/>
                  </a:lnTo>
                  <a:lnTo>
                    <a:pt x="24" y="144"/>
                  </a:lnTo>
                  <a:lnTo>
                    <a:pt x="16" y="152"/>
                  </a:lnTo>
                  <a:lnTo>
                    <a:pt x="8" y="152"/>
                  </a:lnTo>
                  <a:lnTo>
                    <a:pt x="0" y="152"/>
                  </a:lnTo>
                  <a:lnTo>
                    <a:pt x="0" y="168"/>
                  </a:lnTo>
                  <a:lnTo>
                    <a:pt x="0" y="176"/>
                  </a:lnTo>
                  <a:lnTo>
                    <a:pt x="16" y="168"/>
                  </a:lnTo>
                  <a:lnTo>
                    <a:pt x="48" y="168"/>
                  </a:lnTo>
                  <a:lnTo>
                    <a:pt x="56" y="168"/>
                  </a:lnTo>
                  <a:lnTo>
                    <a:pt x="64" y="192"/>
                  </a:lnTo>
                  <a:lnTo>
                    <a:pt x="72" y="200"/>
                  </a:lnTo>
                  <a:lnTo>
                    <a:pt x="96" y="200"/>
                  </a:lnTo>
                  <a:lnTo>
                    <a:pt x="96" y="184"/>
                  </a:lnTo>
                  <a:lnTo>
                    <a:pt x="112" y="184"/>
                  </a:lnTo>
                  <a:lnTo>
                    <a:pt x="128" y="192"/>
                  </a:lnTo>
                  <a:lnTo>
                    <a:pt x="128" y="224"/>
                  </a:lnTo>
                  <a:lnTo>
                    <a:pt x="136" y="240"/>
                  </a:lnTo>
                  <a:lnTo>
                    <a:pt x="128" y="248"/>
                  </a:lnTo>
                  <a:lnTo>
                    <a:pt x="160" y="240"/>
                  </a:lnTo>
                  <a:lnTo>
                    <a:pt x="184" y="256"/>
                  </a:lnTo>
                  <a:lnTo>
                    <a:pt x="192" y="256"/>
                  </a:lnTo>
                  <a:lnTo>
                    <a:pt x="216" y="272"/>
                  </a:lnTo>
                  <a:lnTo>
                    <a:pt x="232" y="280"/>
                  </a:lnTo>
                  <a:lnTo>
                    <a:pt x="232" y="264"/>
                  </a:lnTo>
                  <a:lnTo>
                    <a:pt x="224" y="264"/>
                  </a:lnTo>
                  <a:lnTo>
                    <a:pt x="216" y="256"/>
                  </a:lnTo>
                  <a:lnTo>
                    <a:pt x="224" y="216"/>
                  </a:lnTo>
                  <a:lnTo>
                    <a:pt x="224" y="208"/>
                  </a:lnTo>
                  <a:lnTo>
                    <a:pt x="240" y="200"/>
                  </a:lnTo>
                  <a:lnTo>
                    <a:pt x="248" y="200"/>
                  </a:lnTo>
                  <a:lnTo>
                    <a:pt x="232" y="176"/>
                  </a:lnTo>
                  <a:lnTo>
                    <a:pt x="232" y="144"/>
                  </a:lnTo>
                  <a:lnTo>
                    <a:pt x="232" y="128"/>
                  </a:lnTo>
                  <a:lnTo>
                    <a:pt x="224" y="120"/>
                  </a:lnTo>
                  <a:lnTo>
                    <a:pt x="224" y="112"/>
                  </a:lnTo>
                  <a:lnTo>
                    <a:pt x="232" y="96"/>
                  </a:lnTo>
                  <a:lnTo>
                    <a:pt x="240" y="72"/>
                  </a:lnTo>
                  <a:lnTo>
                    <a:pt x="248" y="56"/>
                  </a:lnTo>
                  <a:lnTo>
                    <a:pt x="256" y="48"/>
                  </a:lnTo>
                  <a:lnTo>
                    <a:pt x="248" y="40"/>
                  </a:lnTo>
                  <a:lnTo>
                    <a:pt x="248" y="24"/>
                  </a:lnTo>
                  <a:lnTo>
                    <a:pt x="232" y="8"/>
                  </a:lnTo>
                  <a:lnTo>
                    <a:pt x="216" y="8"/>
                  </a:lnTo>
                  <a:lnTo>
                    <a:pt x="208" y="0"/>
                  </a:lnTo>
                  <a:lnTo>
                    <a:pt x="144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3" name="Freeform 32">
              <a:extLst>
                <a:ext uri="{FF2B5EF4-FFF2-40B4-BE49-F238E27FC236}">
                  <a16:creationId xmlns:a16="http://schemas.microsoft.com/office/drawing/2014/main" id="{2A20FF5A-8B97-668B-B01B-71DDE433F1C8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5195888" y="4383088"/>
              <a:ext cx="379413" cy="222250"/>
            </a:xfrm>
            <a:custGeom>
              <a:avLst/>
              <a:gdLst>
                <a:gd name="T0" fmla="*/ 0 w 176"/>
                <a:gd name="T1" fmla="*/ 177800 h 120"/>
                <a:gd name="T2" fmla="*/ 0 w 176"/>
                <a:gd name="T3" fmla="*/ 148167 h 120"/>
                <a:gd name="T4" fmla="*/ 17246 w 176"/>
                <a:gd name="T5" fmla="*/ 103717 h 120"/>
                <a:gd name="T6" fmla="*/ 103476 w 176"/>
                <a:gd name="T7" fmla="*/ 88900 h 120"/>
                <a:gd name="T8" fmla="*/ 120722 w 176"/>
                <a:gd name="T9" fmla="*/ 74083 h 120"/>
                <a:gd name="T10" fmla="*/ 120722 w 176"/>
                <a:gd name="T11" fmla="*/ 59267 h 120"/>
                <a:gd name="T12" fmla="*/ 172460 w 176"/>
                <a:gd name="T13" fmla="*/ 44450 h 120"/>
                <a:gd name="T14" fmla="*/ 206953 w 176"/>
                <a:gd name="T15" fmla="*/ 14817 h 120"/>
                <a:gd name="T16" fmla="*/ 224199 w 176"/>
                <a:gd name="T17" fmla="*/ 0 h 120"/>
                <a:gd name="T18" fmla="*/ 258691 w 176"/>
                <a:gd name="T19" fmla="*/ 29633 h 120"/>
                <a:gd name="T20" fmla="*/ 258691 w 176"/>
                <a:gd name="T21" fmla="*/ 59267 h 120"/>
                <a:gd name="T22" fmla="*/ 293183 w 176"/>
                <a:gd name="T23" fmla="*/ 74083 h 120"/>
                <a:gd name="T24" fmla="*/ 379413 w 176"/>
                <a:gd name="T25" fmla="*/ 162983 h 120"/>
                <a:gd name="T26" fmla="*/ 241445 w 176"/>
                <a:gd name="T27" fmla="*/ 177800 h 120"/>
                <a:gd name="T28" fmla="*/ 224199 w 176"/>
                <a:gd name="T29" fmla="*/ 192617 h 120"/>
                <a:gd name="T30" fmla="*/ 172460 w 176"/>
                <a:gd name="T31" fmla="*/ 177800 h 120"/>
                <a:gd name="T32" fmla="*/ 155214 w 176"/>
                <a:gd name="T33" fmla="*/ 162983 h 120"/>
                <a:gd name="T34" fmla="*/ 137968 w 176"/>
                <a:gd name="T35" fmla="*/ 162983 h 120"/>
                <a:gd name="T36" fmla="*/ 120722 w 176"/>
                <a:gd name="T37" fmla="*/ 207433 h 120"/>
                <a:gd name="T38" fmla="*/ 86230 w 176"/>
                <a:gd name="T39" fmla="*/ 207433 h 120"/>
                <a:gd name="T40" fmla="*/ 68984 w 176"/>
                <a:gd name="T41" fmla="*/ 207433 h 120"/>
                <a:gd name="T42" fmla="*/ 51738 w 176"/>
                <a:gd name="T43" fmla="*/ 207433 h 120"/>
                <a:gd name="T44" fmla="*/ 34492 w 176"/>
                <a:gd name="T45" fmla="*/ 222250 h 120"/>
                <a:gd name="T46" fmla="*/ 0 w 176"/>
                <a:gd name="T47" fmla="*/ 177800 h 12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6"/>
                <a:gd name="T73" fmla="*/ 0 h 120"/>
                <a:gd name="T74" fmla="*/ 176 w 176"/>
                <a:gd name="T75" fmla="*/ 120 h 12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6" h="120">
                  <a:moveTo>
                    <a:pt x="0" y="96"/>
                  </a:moveTo>
                  <a:lnTo>
                    <a:pt x="0" y="80"/>
                  </a:lnTo>
                  <a:lnTo>
                    <a:pt x="8" y="56"/>
                  </a:lnTo>
                  <a:lnTo>
                    <a:pt x="48" y="48"/>
                  </a:lnTo>
                  <a:lnTo>
                    <a:pt x="56" y="40"/>
                  </a:lnTo>
                  <a:lnTo>
                    <a:pt x="56" y="32"/>
                  </a:lnTo>
                  <a:lnTo>
                    <a:pt x="80" y="24"/>
                  </a:lnTo>
                  <a:lnTo>
                    <a:pt x="96" y="8"/>
                  </a:lnTo>
                  <a:lnTo>
                    <a:pt x="104" y="0"/>
                  </a:lnTo>
                  <a:lnTo>
                    <a:pt x="120" y="16"/>
                  </a:lnTo>
                  <a:lnTo>
                    <a:pt x="120" y="32"/>
                  </a:lnTo>
                  <a:lnTo>
                    <a:pt x="136" y="40"/>
                  </a:lnTo>
                  <a:lnTo>
                    <a:pt x="176" y="88"/>
                  </a:lnTo>
                  <a:lnTo>
                    <a:pt x="112" y="96"/>
                  </a:lnTo>
                  <a:lnTo>
                    <a:pt x="104" y="104"/>
                  </a:lnTo>
                  <a:lnTo>
                    <a:pt x="80" y="96"/>
                  </a:lnTo>
                  <a:lnTo>
                    <a:pt x="72" y="88"/>
                  </a:lnTo>
                  <a:lnTo>
                    <a:pt x="64" y="88"/>
                  </a:lnTo>
                  <a:lnTo>
                    <a:pt x="56" y="112"/>
                  </a:lnTo>
                  <a:lnTo>
                    <a:pt x="40" y="112"/>
                  </a:lnTo>
                  <a:lnTo>
                    <a:pt x="32" y="112"/>
                  </a:lnTo>
                  <a:lnTo>
                    <a:pt x="24" y="112"/>
                  </a:lnTo>
                  <a:lnTo>
                    <a:pt x="16" y="120"/>
                  </a:lnTo>
                  <a:lnTo>
                    <a:pt x="0" y="9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4" name="Freeform 33">
              <a:extLst>
                <a:ext uri="{FF2B5EF4-FFF2-40B4-BE49-F238E27FC236}">
                  <a16:creationId xmlns:a16="http://schemas.microsoft.com/office/drawing/2014/main" id="{1D08F968-DD11-4027-E5AF-ACE89D9995A8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730876" y="4279901"/>
              <a:ext cx="415925" cy="309563"/>
            </a:xfrm>
            <a:custGeom>
              <a:avLst/>
              <a:gdLst>
                <a:gd name="T0" fmla="*/ 259953 w 192"/>
                <a:gd name="T1" fmla="*/ 73705 h 168"/>
                <a:gd name="T2" fmla="*/ 242623 w 192"/>
                <a:gd name="T3" fmla="*/ 103188 h 168"/>
                <a:gd name="T4" fmla="*/ 277283 w 192"/>
                <a:gd name="T5" fmla="*/ 103188 h 168"/>
                <a:gd name="T6" fmla="*/ 277283 w 192"/>
                <a:gd name="T7" fmla="*/ 117929 h 168"/>
                <a:gd name="T8" fmla="*/ 311944 w 192"/>
                <a:gd name="T9" fmla="*/ 162152 h 168"/>
                <a:gd name="T10" fmla="*/ 398595 w 192"/>
                <a:gd name="T11" fmla="*/ 191634 h 168"/>
                <a:gd name="T12" fmla="*/ 415925 w 192"/>
                <a:gd name="T13" fmla="*/ 191634 h 168"/>
                <a:gd name="T14" fmla="*/ 346604 w 192"/>
                <a:gd name="T15" fmla="*/ 265340 h 168"/>
                <a:gd name="T16" fmla="*/ 294614 w 192"/>
                <a:gd name="T17" fmla="*/ 280081 h 168"/>
                <a:gd name="T18" fmla="*/ 242623 w 192"/>
                <a:gd name="T19" fmla="*/ 294822 h 168"/>
                <a:gd name="T20" fmla="*/ 225293 w 192"/>
                <a:gd name="T21" fmla="*/ 294822 h 168"/>
                <a:gd name="T22" fmla="*/ 173302 w 192"/>
                <a:gd name="T23" fmla="*/ 309563 h 168"/>
                <a:gd name="T24" fmla="*/ 138642 w 192"/>
                <a:gd name="T25" fmla="*/ 309563 h 168"/>
                <a:gd name="T26" fmla="*/ 103981 w 192"/>
                <a:gd name="T27" fmla="*/ 280081 h 168"/>
                <a:gd name="T28" fmla="*/ 69321 w 192"/>
                <a:gd name="T29" fmla="*/ 280081 h 168"/>
                <a:gd name="T30" fmla="*/ 69321 w 192"/>
                <a:gd name="T31" fmla="*/ 265340 h 168"/>
                <a:gd name="T32" fmla="*/ 51991 w 192"/>
                <a:gd name="T33" fmla="*/ 250599 h 168"/>
                <a:gd name="T34" fmla="*/ 17330 w 192"/>
                <a:gd name="T35" fmla="*/ 206375 h 168"/>
                <a:gd name="T36" fmla="*/ 0 w 192"/>
                <a:gd name="T37" fmla="*/ 191634 h 168"/>
                <a:gd name="T38" fmla="*/ 0 w 192"/>
                <a:gd name="T39" fmla="*/ 176893 h 168"/>
                <a:gd name="T40" fmla="*/ 17330 w 192"/>
                <a:gd name="T41" fmla="*/ 176893 h 168"/>
                <a:gd name="T42" fmla="*/ 34660 w 192"/>
                <a:gd name="T43" fmla="*/ 117929 h 168"/>
                <a:gd name="T44" fmla="*/ 86651 w 192"/>
                <a:gd name="T45" fmla="*/ 44223 h 168"/>
                <a:gd name="T46" fmla="*/ 86651 w 192"/>
                <a:gd name="T47" fmla="*/ 14741 h 168"/>
                <a:gd name="T48" fmla="*/ 103981 w 192"/>
                <a:gd name="T49" fmla="*/ 14741 h 168"/>
                <a:gd name="T50" fmla="*/ 121311 w 192"/>
                <a:gd name="T51" fmla="*/ 14741 h 168"/>
                <a:gd name="T52" fmla="*/ 121311 w 192"/>
                <a:gd name="T53" fmla="*/ 0 h 168"/>
                <a:gd name="T54" fmla="*/ 138642 w 192"/>
                <a:gd name="T55" fmla="*/ 14741 h 168"/>
                <a:gd name="T56" fmla="*/ 155972 w 192"/>
                <a:gd name="T57" fmla="*/ 0 h 168"/>
                <a:gd name="T58" fmla="*/ 190632 w 192"/>
                <a:gd name="T59" fmla="*/ 14741 h 168"/>
                <a:gd name="T60" fmla="*/ 259953 w 192"/>
                <a:gd name="T61" fmla="*/ 73705 h 16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2"/>
                <a:gd name="T94" fmla="*/ 0 h 168"/>
                <a:gd name="T95" fmla="*/ 192 w 192"/>
                <a:gd name="T96" fmla="*/ 168 h 16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2" h="168">
                  <a:moveTo>
                    <a:pt x="120" y="40"/>
                  </a:moveTo>
                  <a:lnTo>
                    <a:pt x="112" y="56"/>
                  </a:lnTo>
                  <a:lnTo>
                    <a:pt x="128" y="56"/>
                  </a:lnTo>
                  <a:lnTo>
                    <a:pt x="128" y="64"/>
                  </a:lnTo>
                  <a:lnTo>
                    <a:pt x="144" y="88"/>
                  </a:lnTo>
                  <a:lnTo>
                    <a:pt x="184" y="104"/>
                  </a:lnTo>
                  <a:lnTo>
                    <a:pt x="192" y="104"/>
                  </a:lnTo>
                  <a:lnTo>
                    <a:pt x="160" y="144"/>
                  </a:lnTo>
                  <a:lnTo>
                    <a:pt x="136" y="152"/>
                  </a:lnTo>
                  <a:lnTo>
                    <a:pt x="112" y="160"/>
                  </a:lnTo>
                  <a:lnTo>
                    <a:pt x="104" y="160"/>
                  </a:lnTo>
                  <a:lnTo>
                    <a:pt x="80" y="168"/>
                  </a:lnTo>
                  <a:lnTo>
                    <a:pt x="64" y="168"/>
                  </a:lnTo>
                  <a:lnTo>
                    <a:pt x="48" y="152"/>
                  </a:lnTo>
                  <a:lnTo>
                    <a:pt x="32" y="152"/>
                  </a:lnTo>
                  <a:lnTo>
                    <a:pt x="32" y="144"/>
                  </a:lnTo>
                  <a:lnTo>
                    <a:pt x="24" y="136"/>
                  </a:lnTo>
                  <a:lnTo>
                    <a:pt x="8" y="112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8" y="96"/>
                  </a:lnTo>
                  <a:lnTo>
                    <a:pt x="16" y="64"/>
                  </a:lnTo>
                  <a:lnTo>
                    <a:pt x="40" y="24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64" y="8"/>
                  </a:lnTo>
                  <a:lnTo>
                    <a:pt x="72" y="0"/>
                  </a:lnTo>
                  <a:lnTo>
                    <a:pt x="88" y="8"/>
                  </a:lnTo>
                  <a:lnTo>
                    <a:pt x="120" y="4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5" name="Freeform 34">
              <a:extLst>
                <a:ext uri="{FF2B5EF4-FFF2-40B4-BE49-F238E27FC236}">
                  <a16:creationId xmlns:a16="http://schemas.microsoft.com/office/drawing/2014/main" id="{CFD40C7D-D43A-6924-67A4-E6296BE9F30B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818188" y="4191001"/>
              <a:ext cx="188913" cy="163513"/>
            </a:xfrm>
            <a:custGeom>
              <a:avLst/>
              <a:gdLst>
                <a:gd name="T0" fmla="*/ 171739 w 88"/>
                <a:gd name="T1" fmla="*/ 163513 h 88"/>
                <a:gd name="T2" fmla="*/ 188913 w 88"/>
                <a:gd name="T3" fmla="*/ 148648 h 88"/>
                <a:gd name="T4" fmla="*/ 137391 w 88"/>
                <a:gd name="T5" fmla="*/ 89189 h 88"/>
                <a:gd name="T6" fmla="*/ 85870 w 88"/>
                <a:gd name="T7" fmla="*/ 59459 h 88"/>
                <a:gd name="T8" fmla="*/ 51522 w 88"/>
                <a:gd name="T9" fmla="*/ 0 h 88"/>
                <a:gd name="T10" fmla="*/ 51522 w 88"/>
                <a:gd name="T11" fmla="*/ 14865 h 88"/>
                <a:gd name="T12" fmla="*/ 17174 w 88"/>
                <a:gd name="T13" fmla="*/ 29730 h 88"/>
                <a:gd name="T14" fmla="*/ 0 w 88"/>
                <a:gd name="T15" fmla="*/ 104054 h 88"/>
                <a:gd name="T16" fmla="*/ 17174 w 88"/>
                <a:gd name="T17" fmla="*/ 104054 h 88"/>
                <a:gd name="T18" fmla="*/ 34348 w 88"/>
                <a:gd name="T19" fmla="*/ 104054 h 88"/>
                <a:gd name="T20" fmla="*/ 34348 w 88"/>
                <a:gd name="T21" fmla="*/ 89189 h 88"/>
                <a:gd name="T22" fmla="*/ 51522 w 88"/>
                <a:gd name="T23" fmla="*/ 104054 h 88"/>
                <a:gd name="T24" fmla="*/ 68696 w 88"/>
                <a:gd name="T25" fmla="*/ 89189 h 88"/>
                <a:gd name="T26" fmla="*/ 103043 w 88"/>
                <a:gd name="T27" fmla="*/ 104054 h 88"/>
                <a:gd name="T28" fmla="*/ 171739 w 88"/>
                <a:gd name="T29" fmla="*/ 163513 h 8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8"/>
                <a:gd name="T46" fmla="*/ 0 h 88"/>
                <a:gd name="T47" fmla="*/ 88 w 88"/>
                <a:gd name="T48" fmla="*/ 88 h 8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8" h="88">
                  <a:moveTo>
                    <a:pt x="80" y="88"/>
                  </a:moveTo>
                  <a:lnTo>
                    <a:pt x="88" y="80"/>
                  </a:lnTo>
                  <a:lnTo>
                    <a:pt x="64" y="48"/>
                  </a:lnTo>
                  <a:lnTo>
                    <a:pt x="40" y="32"/>
                  </a:lnTo>
                  <a:lnTo>
                    <a:pt x="24" y="0"/>
                  </a:lnTo>
                  <a:lnTo>
                    <a:pt x="24" y="8"/>
                  </a:lnTo>
                  <a:lnTo>
                    <a:pt x="8" y="16"/>
                  </a:lnTo>
                  <a:lnTo>
                    <a:pt x="0" y="56"/>
                  </a:lnTo>
                  <a:lnTo>
                    <a:pt x="8" y="56"/>
                  </a:lnTo>
                  <a:lnTo>
                    <a:pt x="16" y="56"/>
                  </a:lnTo>
                  <a:lnTo>
                    <a:pt x="16" y="48"/>
                  </a:lnTo>
                  <a:lnTo>
                    <a:pt x="24" y="56"/>
                  </a:lnTo>
                  <a:lnTo>
                    <a:pt x="32" y="48"/>
                  </a:lnTo>
                  <a:lnTo>
                    <a:pt x="48" y="56"/>
                  </a:lnTo>
                  <a:lnTo>
                    <a:pt x="80" y="8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6" name="Freeform 36">
              <a:extLst>
                <a:ext uri="{FF2B5EF4-FFF2-40B4-BE49-F238E27FC236}">
                  <a16:creationId xmlns:a16="http://schemas.microsoft.com/office/drawing/2014/main" id="{3BB9FDD0-0AE4-D75F-B125-6308FCEB15B9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4624388" y="4265613"/>
              <a:ext cx="225425" cy="161925"/>
            </a:xfrm>
            <a:custGeom>
              <a:avLst/>
              <a:gdLst>
                <a:gd name="T0" fmla="*/ 208085 w 104"/>
                <a:gd name="T1" fmla="*/ 73602 h 88"/>
                <a:gd name="T2" fmla="*/ 190744 w 104"/>
                <a:gd name="T3" fmla="*/ 73602 h 88"/>
                <a:gd name="T4" fmla="*/ 156063 w 104"/>
                <a:gd name="T5" fmla="*/ 29441 h 88"/>
                <a:gd name="T6" fmla="*/ 156063 w 104"/>
                <a:gd name="T7" fmla="*/ 0 h 88"/>
                <a:gd name="T8" fmla="*/ 121383 w 104"/>
                <a:gd name="T9" fmla="*/ 14720 h 88"/>
                <a:gd name="T10" fmla="*/ 69362 w 104"/>
                <a:gd name="T11" fmla="*/ 44161 h 88"/>
                <a:gd name="T12" fmla="*/ 34681 w 104"/>
                <a:gd name="T13" fmla="*/ 58882 h 88"/>
                <a:gd name="T14" fmla="*/ 0 w 104"/>
                <a:gd name="T15" fmla="*/ 103043 h 88"/>
                <a:gd name="T16" fmla="*/ 0 w 104"/>
                <a:gd name="T17" fmla="*/ 132484 h 88"/>
                <a:gd name="T18" fmla="*/ 17340 w 104"/>
                <a:gd name="T19" fmla="*/ 147205 h 88"/>
                <a:gd name="T20" fmla="*/ 52021 w 104"/>
                <a:gd name="T21" fmla="*/ 147205 h 88"/>
                <a:gd name="T22" fmla="*/ 69362 w 104"/>
                <a:gd name="T23" fmla="*/ 161925 h 88"/>
                <a:gd name="T24" fmla="*/ 69362 w 104"/>
                <a:gd name="T25" fmla="*/ 117764 h 88"/>
                <a:gd name="T26" fmla="*/ 138723 w 104"/>
                <a:gd name="T27" fmla="*/ 117764 h 88"/>
                <a:gd name="T28" fmla="*/ 173404 w 104"/>
                <a:gd name="T29" fmla="*/ 117764 h 88"/>
                <a:gd name="T30" fmla="*/ 190744 w 104"/>
                <a:gd name="T31" fmla="*/ 103043 h 88"/>
                <a:gd name="T32" fmla="*/ 208085 w 104"/>
                <a:gd name="T33" fmla="*/ 103043 h 88"/>
                <a:gd name="T34" fmla="*/ 225425 w 104"/>
                <a:gd name="T35" fmla="*/ 88323 h 88"/>
                <a:gd name="T36" fmla="*/ 208085 w 104"/>
                <a:gd name="T37" fmla="*/ 73602 h 8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4"/>
                <a:gd name="T58" fmla="*/ 0 h 88"/>
                <a:gd name="T59" fmla="*/ 104 w 104"/>
                <a:gd name="T60" fmla="*/ 88 h 8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4" h="88">
                  <a:moveTo>
                    <a:pt x="96" y="40"/>
                  </a:moveTo>
                  <a:lnTo>
                    <a:pt x="88" y="40"/>
                  </a:lnTo>
                  <a:lnTo>
                    <a:pt x="72" y="16"/>
                  </a:lnTo>
                  <a:lnTo>
                    <a:pt x="72" y="0"/>
                  </a:lnTo>
                  <a:lnTo>
                    <a:pt x="56" y="8"/>
                  </a:lnTo>
                  <a:lnTo>
                    <a:pt x="32" y="24"/>
                  </a:lnTo>
                  <a:lnTo>
                    <a:pt x="16" y="32"/>
                  </a:lnTo>
                  <a:lnTo>
                    <a:pt x="0" y="56"/>
                  </a:lnTo>
                  <a:lnTo>
                    <a:pt x="0" y="72"/>
                  </a:lnTo>
                  <a:lnTo>
                    <a:pt x="8" y="80"/>
                  </a:lnTo>
                  <a:lnTo>
                    <a:pt x="24" y="80"/>
                  </a:lnTo>
                  <a:lnTo>
                    <a:pt x="32" y="88"/>
                  </a:lnTo>
                  <a:lnTo>
                    <a:pt x="32" y="64"/>
                  </a:lnTo>
                  <a:lnTo>
                    <a:pt x="64" y="64"/>
                  </a:lnTo>
                  <a:lnTo>
                    <a:pt x="80" y="64"/>
                  </a:lnTo>
                  <a:lnTo>
                    <a:pt x="88" y="56"/>
                  </a:lnTo>
                  <a:lnTo>
                    <a:pt x="96" y="56"/>
                  </a:lnTo>
                  <a:lnTo>
                    <a:pt x="104" y="48"/>
                  </a:lnTo>
                  <a:lnTo>
                    <a:pt x="96" y="4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7" name="Freeform 37">
              <a:extLst>
                <a:ext uri="{FF2B5EF4-FFF2-40B4-BE49-F238E27FC236}">
                  <a16:creationId xmlns:a16="http://schemas.microsoft.com/office/drawing/2014/main" id="{1EA603D0-14E8-AA0F-24D5-9D6DA7136C82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779963" y="4029076"/>
              <a:ext cx="449263" cy="339725"/>
            </a:xfrm>
            <a:custGeom>
              <a:avLst/>
              <a:gdLst>
                <a:gd name="T0" fmla="*/ 380146 w 208"/>
                <a:gd name="T1" fmla="*/ 280642 h 184"/>
                <a:gd name="T2" fmla="*/ 380146 w 208"/>
                <a:gd name="T3" fmla="*/ 265872 h 184"/>
                <a:gd name="T4" fmla="*/ 431984 w 208"/>
                <a:gd name="T5" fmla="*/ 177248 h 184"/>
                <a:gd name="T6" fmla="*/ 449263 w 208"/>
                <a:gd name="T7" fmla="*/ 88624 h 184"/>
                <a:gd name="T8" fmla="*/ 431984 w 208"/>
                <a:gd name="T9" fmla="*/ 88624 h 184"/>
                <a:gd name="T10" fmla="*/ 414704 w 208"/>
                <a:gd name="T11" fmla="*/ 59083 h 184"/>
                <a:gd name="T12" fmla="*/ 414704 w 208"/>
                <a:gd name="T13" fmla="*/ 14771 h 184"/>
                <a:gd name="T14" fmla="*/ 397425 w 208"/>
                <a:gd name="T15" fmla="*/ 0 h 184"/>
                <a:gd name="T16" fmla="*/ 328308 w 208"/>
                <a:gd name="T17" fmla="*/ 0 h 184"/>
                <a:gd name="T18" fmla="*/ 155514 w 208"/>
                <a:gd name="T19" fmla="*/ 118165 h 184"/>
                <a:gd name="T20" fmla="*/ 120955 w 208"/>
                <a:gd name="T21" fmla="*/ 132936 h 184"/>
                <a:gd name="T22" fmla="*/ 120955 w 208"/>
                <a:gd name="T23" fmla="*/ 206789 h 184"/>
                <a:gd name="T24" fmla="*/ 103676 w 208"/>
                <a:gd name="T25" fmla="*/ 221560 h 184"/>
                <a:gd name="T26" fmla="*/ 0 w 208"/>
                <a:gd name="T27" fmla="*/ 236330 h 184"/>
                <a:gd name="T28" fmla="*/ 0 w 208"/>
                <a:gd name="T29" fmla="*/ 265872 h 184"/>
                <a:gd name="T30" fmla="*/ 34559 w 208"/>
                <a:gd name="T31" fmla="*/ 310184 h 184"/>
                <a:gd name="T32" fmla="*/ 51838 w 208"/>
                <a:gd name="T33" fmla="*/ 310184 h 184"/>
                <a:gd name="T34" fmla="*/ 69117 w 208"/>
                <a:gd name="T35" fmla="*/ 324954 h 184"/>
                <a:gd name="T36" fmla="*/ 86397 w 208"/>
                <a:gd name="T37" fmla="*/ 310184 h 184"/>
                <a:gd name="T38" fmla="*/ 103676 w 208"/>
                <a:gd name="T39" fmla="*/ 339725 h 184"/>
                <a:gd name="T40" fmla="*/ 103676 w 208"/>
                <a:gd name="T41" fmla="*/ 310184 h 184"/>
                <a:gd name="T42" fmla="*/ 120955 w 208"/>
                <a:gd name="T43" fmla="*/ 280642 h 184"/>
                <a:gd name="T44" fmla="*/ 155514 w 208"/>
                <a:gd name="T45" fmla="*/ 280642 h 184"/>
                <a:gd name="T46" fmla="*/ 190073 w 208"/>
                <a:gd name="T47" fmla="*/ 295413 h 184"/>
                <a:gd name="T48" fmla="*/ 224632 w 208"/>
                <a:gd name="T49" fmla="*/ 295413 h 184"/>
                <a:gd name="T50" fmla="*/ 259190 w 208"/>
                <a:gd name="T51" fmla="*/ 310184 h 184"/>
                <a:gd name="T52" fmla="*/ 293749 w 208"/>
                <a:gd name="T53" fmla="*/ 295413 h 184"/>
                <a:gd name="T54" fmla="*/ 345587 w 208"/>
                <a:gd name="T55" fmla="*/ 295413 h 184"/>
                <a:gd name="T56" fmla="*/ 362866 w 208"/>
                <a:gd name="T57" fmla="*/ 280642 h 184"/>
                <a:gd name="T58" fmla="*/ 380146 w 208"/>
                <a:gd name="T59" fmla="*/ 280642 h 18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8"/>
                <a:gd name="T91" fmla="*/ 0 h 184"/>
                <a:gd name="T92" fmla="*/ 208 w 208"/>
                <a:gd name="T93" fmla="*/ 184 h 18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8" h="184">
                  <a:moveTo>
                    <a:pt x="176" y="152"/>
                  </a:moveTo>
                  <a:lnTo>
                    <a:pt x="176" y="144"/>
                  </a:lnTo>
                  <a:lnTo>
                    <a:pt x="200" y="96"/>
                  </a:lnTo>
                  <a:lnTo>
                    <a:pt x="208" y="48"/>
                  </a:lnTo>
                  <a:lnTo>
                    <a:pt x="200" y="48"/>
                  </a:lnTo>
                  <a:lnTo>
                    <a:pt x="192" y="32"/>
                  </a:lnTo>
                  <a:lnTo>
                    <a:pt x="192" y="8"/>
                  </a:lnTo>
                  <a:lnTo>
                    <a:pt x="184" y="0"/>
                  </a:lnTo>
                  <a:lnTo>
                    <a:pt x="152" y="0"/>
                  </a:lnTo>
                  <a:lnTo>
                    <a:pt x="72" y="64"/>
                  </a:lnTo>
                  <a:lnTo>
                    <a:pt x="56" y="72"/>
                  </a:lnTo>
                  <a:lnTo>
                    <a:pt x="56" y="112"/>
                  </a:lnTo>
                  <a:lnTo>
                    <a:pt x="48" y="120"/>
                  </a:lnTo>
                  <a:lnTo>
                    <a:pt x="0" y="128"/>
                  </a:lnTo>
                  <a:lnTo>
                    <a:pt x="0" y="144"/>
                  </a:lnTo>
                  <a:lnTo>
                    <a:pt x="16" y="168"/>
                  </a:lnTo>
                  <a:lnTo>
                    <a:pt x="24" y="168"/>
                  </a:lnTo>
                  <a:lnTo>
                    <a:pt x="32" y="176"/>
                  </a:lnTo>
                  <a:lnTo>
                    <a:pt x="40" y="168"/>
                  </a:lnTo>
                  <a:lnTo>
                    <a:pt x="48" y="184"/>
                  </a:lnTo>
                  <a:lnTo>
                    <a:pt x="48" y="168"/>
                  </a:lnTo>
                  <a:lnTo>
                    <a:pt x="56" y="152"/>
                  </a:lnTo>
                  <a:lnTo>
                    <a:pt x="72" y="152"/>
                  </a:lnTo>
                  <a:lnTo>
                    <a:pt x="88" y="160"/>
                  </a:lnTo>
                  <a:lnTo>
                    <a:pt x="104" y="160"/>
                  </a:lnTo>
                  <a:lnTo>
                    <a:pt x="120" y="168"/>
                  </a:lnTo>
                  <a:lnTo>
                    <a:pt x="136" y="160"/>
                  </a:lnTo>
                  <a:lnTo>
                    <a:pt x="160" y="160"/>
                  </a:lnTo>
                  <a:lnTo>
                    <a:pt x="168" y="152"/>
                  </a:lnTo>
                  <a:lnTo>
                    <a:pt x="176" y="15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8" name="Freeform 38">
              <a:extLst>
                <a:ext uri="{FF2B5EF4-FFF2-40B4-BE49-F238E27FC236}">
                  <a16:creationId xmlns:a16="http://schemas.microsoft.com/office/drawing/2014/main" id="{C554F294-91EE-5B3B-566B-4022E0CE7A31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4433888" y="3984626"/>
              <a:ext cx="466725" cy="414338"/>
            </a:xfrm>
            <a:custGeom>
              <a:avLst/>
              <a:gdLst>
                <a:gd name="T0" fmla="*/ 345722 w 216"/>
                <a:gd name="T1" fmla="*/ 281158 h 224"/>
                <a:gd name="T2" fmla="*/ 449439 w 216"/>
                <a:gd name="T3" fmla="*/ 266360 h 224"/>
                <a:gd name="T4" fmla="*/ 466725 w 216"/>
                <a:gd name="T5" fmla="*/ 251562 h 224"/>
                <a:gd name="T6" fmla="*/ 466725 w 216"/>
                <a:gd name="T7" fmla="*/ 177573 h 224"/>
                <a:gd name="T8" fmla="*/ 432153 w 216"/>
                <a:gd name="T9" fmla="*/ 177573 h 224"/>
                <a:gd name="T10" fmla="*/ 432153 w 216"/>
                <a:gd name="T11" fmla="*/ 147978 h 224"/>
                <a:gd name="T12" fmla="*/ 397581 w 216"/>
                <a:gd name="T13" fmla="*/ 133180 h 224"/>
                <a:gd name="T14" fmla="*/ 363008 w 216"/>
                <a:gd name="T15" fmla="*/ 118382 h 224"/>
                <a:gd name="T16" fmla="*/ 207433 w 216"/>
                <a:gd name="T17" fmla="*/ 0 h 224"/>
                <a:gd name="T18" fmla="*/ 155575 w 216"/>
                <a:gd name="T19" fmla="*/ 0 h 224"/>
                <a:gd name="T20" fmla="*/ 190147 w 216"/>
                <a:gd name="T21" fmla="*/ 266360 h 224"/>
                <a:gd name="T22" fmla="*/ 51858 w 216"/>
                <a:gd name="T23" fmla="*/ 266360 h 224"/>
                <a:gd name="T24" fmla="*/ 34572 w 216"/>
                <a:gd name="T25" fmla="*/ 281158 h 224"/>
                <a:gd name="T26" fmla="*/ 17286 w 216"/>
                <a:gd name="T27" fmla="*/ 266360 h 224"/>
                <a:gd name="T28" fmla="*/ 0 w 216"/>
                <a:gd name="T29" fmla="*/ 295956 h 224"/>
                <a:gd name="T30" fmla="*/ 17286 w 216"/>
                <a:gd name="T31" fmla="*/ 355147 h 224"/>
                <a:gd name="T32" fmla="*/ 34572 w 216"/>
                <a:gd name="T33" fmla="*/ 369945 h 224"/>
                <a:gd name="T34" fmla="*/ 69144 w 216"/>
                <a:gd name="T35" fmla="*/ 355147 h 224"/>
                <a:gd name="T36" fmla="*/ 103717 w 216"/>
                <a:gd name="T37" fmla="*/ 414338 h 224"/>
                <a:gd name="T38" fmla="*/ 121003 w 216"/>
                <a:gd name="T39" fmla="*/ 414338 h 224"/>
                <a:gd name="T40" fmla="*/ 138289 w 216"/>
                <a:gd name="T41" fmla="*/ 414338 h 224"/>
                <a:gd name="T42" fmla="*/ 155575 w 216"/>
                <a:gd name="T43" fmla="*/ 414338 h 224"/>
                <a:gd name="T44" fmla="*/ 172861 w 216"/>
                <a:gd name="T45" fmla="*/ 414338 h 224"/>
                <a:gd name="T46" fmla="*/ 190147 w 216"/>
                <a:gd name="T47" fmla="*/ 414338 h 224"/>
                <a:gd name="T48" fmla="*/ 190147 w 216"/>
                <a:gd name="T49" fmla="*/ 384742 h 224"/>
                <a:gd name="T50" fmla="*/ 224719 w 216"/>
                <a:gd name="T51" fmla="*/ 340349 h 224"/>
                <a:gd name="T52" fmla="*/ 259292 w 216"/>
                <a:gd name="T53" fmla="*/ 325551 h 224"/>
                <a:gd name="T54" fmla="*/ 311150 w 216"/>
                <a:gd name="T55" fmla="*/ 295956 h 224"/>
                <a:gd name="T56" fmla="*/ 345722 w 216"/>
                <a:gd name="T57" fmla="*/ 281158 h 22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6"/>
                <a:gd name="T88" fmla="*/ 0 h 224"/>
                <a:gd name="T89" fmla="*/ 216 w 216"/>
                <a:gd name="T90" fmla="*/ 224 h 22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6" h="224">
                  <a:moveTo>
                    <a:pt x="160" y="152"/>
                  </a:moveTo>
                  <a:lnTo>
                    <a:pt x="208" y="144"/>
                  </a:lnTo>
                  <a:lnTo>
                    <a:pt x="216" y="136"/>
                  </a:lnTo>
                  <a:lnTo>
                    <a:pt x="216" y="96"/>
                  </a:lnTo>
                  <a:lnTo>
                    <a:pt x="200" y="96"/>
                  </a:lnTo>
                  <a:lnTo>
                    <a:pt x="200" y="80"/>
                  </a:lnTo>
                  <a:lnTo>
                    <a:pt x="184" y="72"/>
                  </a:lnTo>
                  <a:lnTo>
                    <a:pt x="168" y="64"/>
                  </a:lnTo>
                  <a:lnTo>
                    <a:pt x="96" y="0"/>
                  </a:lnTo>
                  <a:lnTo>
                    <a:pt x="72" y="0"/>
                  </a:lnTo>
                  <a:lnTo>
                    <a:pt x="88" y="144"/>
                  </a:lnTo>
                  <a:lnTo>
                    <a:pt x="24" y="144"/>
                  </a:lnTo>
                  <a:lnTo>
                    <a:pt x="16" y="152"/>
                  </a:lnTo>
                  <a:lnTo>
                    <a:pt x="8" y="144"/>
                  </a:lnTo>
                  <a:lnTo>
                    <a:pt x="0" y="160"/>
                  </a:lnTo>
                  <a:lnTo>
                    <a:pt x="8" y="192"/>
                  </a:lnTo>
                  <a:lnTo>
                    <a:pt x="16" y="200"/>
                  </a:lnTo>
                  <a:lnTo>
                    <a:pt x="32" y="192"/>
                  </a:lnTo>
                  <a:lnTo>
                    <a:pt x="48" y="224"/>
                  </a:lnTo>
                  <a:lnTo>
                    <a:pt x="56" y="224"/>
                  </a:lnTo>
                  <a:lnTo>
                    <a:pt x="64" y="224"/>
                  </a:lnTo>
                  <a:lnTo>
                    <a:pt x="72" y="224"/>
                  </a:lnTo>
                  <a:lnTo>
                    <a:pt x="80" y="224"/>
                  </a:lnTo>
                  <a:lnTo>
                    <a:pt x="88" y="224"/>
                  </a:lnTo>
                  <a:lnTo>
                    <a:pt x="88" y="208"/>
                  </a:lnTo>
                  <a:lnTo>
                    <a:pt x="104" y="184"/>
                  </a:lnTo>
                  <a:lnTo>
                    <a:pt x="120" y="176"/>
                  </a:lnTo>
                  <a:lnTo>
                    <a:pt x="144" y="160"/>
                  </a:lnTo>
                  <a:lnTo>
                    <a:pt x="160" y="15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" name="Freeform 39">
              <a:extLst>
                <a:ext uri="{FF2B5EF4-FFF2-40B4-BE49-F238E27FC236}">
                  <a16:creationId xmlns:a16="http://schemas.microsoft.com/office/drawing/2014/main" id="{EA0507ED-53EC-1CB0-C9D8-53BA1A3E8006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5040313" y="3763963"/>
              <a:ext cx="449263" cy="384175"/>
            </a:xfrm>
            <a:custGeom>
              <a:avLst/>
              <a:gdLst>
                <a:gd name="T0" fmla="*/ 449263 w 208"/>
                <a:gd name="T1" fmla="*/ 310295 h 208"/>
                <a:gd name="T2" fmla="*/ 431984 w 208"/>
                <a:gd name="T3" fmla="*/ 132984 h 208"/>
                <a:gd name="T4" fmla="*/ 431984 w 208"/>
                <a:gd name="T5" fmla="*/ 88656 h 208"/>
                <a:gd name="T6" fmla="*/ 431984 w 208"/>
                <a:gd name="T7" fmla="*/ 44328 h 208"/>
                <a:gd name="T8" fmla="*/ 380146 w 208"/>
                <a:gd name="T9" fmla="*/ 29552 h 208"/>
                <a:gd name="T10" fmla="*/ 380146 w 208"/>
                <a:gd name="T11" fmla="*/ 14776 h 208"/>
                <a:gd name="T12" fmla="*/ 345587 w 208"/>
                <a:gd name="T13" fmla="*/ 14776 h 208"/>
                <a:gd name="T14" fmla="*/ 293749 w 208"/>
                <a:gd name="T15" fmla="*/ 29552 h 208"/>
                <a:gd name="T16" fmla="*/ 293749 w 208"/>
                <a:gd name="T17" fmla="*/ 73880 h 208"/>
                <a:gd name="T18" fmla="*/ 276470 w 208"/>
                <a:gd name="T19" fmla="*/ 88656 h 208"/>
                <a:gd name="T20" fmla="*/ 259190 w 208"/>
                <a:gd name="T21" fmla="*/ 73880 h 208"/>
                <a:gd name="T22" fmla="*/ 224632 w 208"/>
                <a:gd name="T23" fmla="*/ 59104 h 208"/>
                <a:gd name="T24" fmla="*/ 172793 w 208"/>
                <a:gd name="T25" fmla="*/ 44328 h 208"/>
                <a:gd name="T26" fmla="*/ 172793 w 208"/>
                <a:gd name="T27" fmla="*/ 29552 h 208"/>
                <a:gd name="T28" fmla="*/ 138235 w 208"/>
                <a:gd name="T29" fmla="*/ 14776 h 208"/>
                <a:gd name="T30" fmla="*/ 86397 w 208"/>
                <a:gd name="T31" fmla="*/ 14776 h 208"/>
                <a:gd name="T32" fmla="*/ 51838 w 208"/>
                <a:gd name="T33" fmla="*/ 0 h 208"/>
                <a:gd name="T34" fmla="*/ 51838 w 208"/>
                <a:gd name="T35" fmla="*/ 29552 h 208"/>
                <a:gd name="T36" fmla="*/ 17279 w 208"/>
                <a:gd name="T37" fmla="*/ 44328 h 208"/>
                <a:gd name="T38" fmla="*/ 17279 w 208"/>
                <a:gd name="T39" fmla="*/ 73880 h 208"/>
                <a:gd name="T40" fmla="*/ 0 w 208"/>
                <a:gd name="T41" fmla="*/ 73880 h 208"/>
                <a:gd name="T42" fmla="*/ 0 w 208"/>
                <a:gd name="T43" fmla="*/ 88656 h 208"/>
                <a:gd name="T44" fmla="*/ 17279 w 208"/>
                <a:gd name="T45" fmla="*/ 103432 h 208"/>
                <a:gd name="T46" fmla="*/ 17279 w 208"/>
                <a:gd name="T47" fmla="*/ 147760 h 208"/>
                <a:gd name="T48" fmla="*/ 17279 w 208"/>
                <a:gd name="T49" fmla="*/ 177312 h 208"/>
                <a:gd name="T50" fmla="*/ 0 w 208"/>
                <a:gd name="T51" fmla="*/ 192088 h 208"/>
                <a:gd name="T52" fmla="*/ 34559 w 208"/>
                <a:gd name="T53" fmla="*/ 236415 h 208"/>
                <a:gd name="T54" fmla="*/ 51838 w 208"/>
                <a:gd name="T55" fmla="*/ 236415 h 208"/>
                <a:gd name="T56" fmla="*/ 69117 w 208"/>
                <a:gd name="T57" fmla="*/ 265967 h 208"/>
                <a:gd name="T58" fmla="*/ 138235 w 208"/>
                <a:gd name="T59" fmla="*/ 265967 h 208"/>
                <a:gd name="T60" fmla="*/ 155514 w 208"/>
                <a:gd name="T61" fmla="*/ 280743 h 208"/>
                <a:gd name="T62" fmla="*/ 207352 w 208"/>
                <a:gd name="T63" fmla="*/ 280743 h 208"/>
                <a:gd name="T64" fmla="*/ 414704 w 208"/>
                <a:gd name="T65" fmla="*/ 384175 h 208"/>
                <a:gd name="T66" fmla="*/ 414704 w 208"/>
                <a:gd name="T67" fmla="*/ 369399 h 208"/>
                <a:gd name="T68" fmla="*/ 449263 w 208"/>
                <a:gd name="T69" fmla="*/ 369399 h 208"/>
                <a:gd name="T70" fmla="*/ 449263 w 208"/>
                <a:gd name="T71" fmla="*/ 310295 h 2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8"/>
                <a:gd name="T109" fmla="*/ 0 h 208"/>
                <a:gd name="T110" fmla="*/ 208 w 208"/>
                <a:gd name="T111" fmla="*/ 208 h 2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8" h="208">
                  <a:moveTo>
                    <a:pt x="208" y="168"/>
                  </a:moveTo>
                  <a:lnTo>
                    <a:pt x="200" y="72"/>
                  </a:lnTo>
                  <a:lnTo>
                    <a:pt x="200" y="48"/>
                  </a:lnTo>
                  <a:lnTo>
                    <a:pt x="200" y="24"/>
                  </a:lnTo>
                  <a:lnTo>
                    <a:pt x="176" y="16"/>
                  </a:lnTo>
                  <a:lnTo>
                    <a:pt x="176" y="8"/>
                  </a:lnTo>
                  <a:lnTo>
                    <a:pt x="160" y="8"/>
                  </a:lnTo>
                  <a:lnTo>
                    <a:pt x="136" y="16"/>
                  </a:lnTo>
                  <a:lnTo>
                    <a:pt x="136" y="40"/>
                  </a:lnTo>
                  <a:lnTo>
                    <a:pt x="128" y="48"/>
                  </a:lnTo>
                  <a:lnTo>
                    <a:pt x="120" y="40"/>
                  </a:lnTo>
                  <a:lnTo>
                    <a:pt x="104" y="32"/>
                  </a:lnTo>
                  <a:lnTo>
                    <a:pt x="80" y="24"/>
                  </a:lnTo>
                  <a:lnTo>
                    <a:pt x="80" y="16"/>
                  </a:lnTo>
                  <a:lnTo>
                    <a:pt x="64" y="8"/>
                  </a:lnTo>
                  <a:lnTo>
                    <a:pt x="40" y="8"/>
                  </a:lnTo>
                  <a:lnTo>
                    <a:pt x="24" y="0"/>
                  </a:lnTo>
                  <a:lnTo>
                    <a:pt x="24" y="16"/>
                  </a:lnTo>
                  <a:lnTo>
                    <a:pt x="8" y="24"/>
                  </a:lnTo>
                  <a:lnTo>
                    <a:pt x="8" y="40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8" y="56"/>
                  </a:lnTo>
                  <a:lnTo>
                    <a:pt x="8" y="80"/>
                  </a:lnTo>
                  <a:lnTo>
                    <a:pt x="8" y="96"/>
                  </a:lnTo>
                  <a:lnTo>
                    <a:pt x="0" y="104"/>
                  </a:lnTo>
                  <a:lnTo>
                    <a:pt x="16" y="128"/>
                  </a:lnTo>
                  <a:lnTo>
                    <a:pt x="24" y="128"/>
                  </a:lnTo>
                  <a:lnTo>
                    <a:pt x="32" y="144"/>
                  </a:lnTo>
                  <a:lnTo>
                    <a:pt x="64" y="144"/>
                  </a:lnTo>
                  <a:lnTo>
                    <a:pt x="72" y="152"/>
                  </a:lnTo>
                  <a:lnTo>
                    <a:pt x="96" y="152"/>
                  </a:lnTo>
                  <a:lnTo>
                    <a:pt x="192" y="208"/>
                  </a:lnTo>
                  <a:lnTo>
                    <a:pt x="192" y="200"/>
                  </a:lnTo>
                  <a:lnTo>
                    <a:pt x="208" y="200"/>
                  </a:lnTo>
                  <a:lnTo>
                    <a:pt x="208" y="16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0" name="Freeform 40">
              <a:extLst>
                <a:ext uri="{FF2B5EF4-FFF2-40B4-BE49-F238E27FC236}">
                  <a16:creationId xmlns:a16="http://schemas.microsoft.com/office/drawing/2014/main" id="{8A513892-E72B-25DB-01B7-9838D18C9A39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4538663" y="3660776"/>
              <a:ext cx="569913" cy="501650"/>
            </a:xfrm>
            <a:custGeom>
              <a:avLst/>
              <a:gdLst>
                <a:gd name="T0" fmla="*/ 466292 w 264"/>
                <a:gd name="T1" fmla="*/ 0 h 272"/>
                <a:gd name="T2" fmla="*/ 414482 w 264"/>
                <a:gd name="T3" fmla="*/ 0 h 272"/>
                <a:gd name="T4" fmla="*/ 397212 w 264"/>
                <a:gd name="T5" fmla="*/ 0 h 272"/>
                <a:gd name="T6" fmla="*/ 362672 w 264"/>
                <a:gd name="T7" fmla="*/ 0 h 272"/>
                <a:gd name="T8" fmla="*/ 276321 w 264"/>
                <a:gd name="T9" fmla="*/ 14754 h 272"/>
                <a:gd name="T10" fmla="*/ 189971 w 264"/>
                <a:gd name="T11" fmla="*/ 44263 h 272"/>
                <a:gd name="T12" fmla="*/ 207241 w 264"/>
                <a:gd name="T13" fmla="*/ 59018 h 272"/>
                <a:gd name="T14" fmla="*/ 207241 w 264"/>
                <a:gd name="T15" fmla="*/ 132790 h 272"/>
                <a:gd name="T16" fmla="*/ 138161 w 264"/>
                <a:gd name="T17" fmla="*/ 147544 h 272"/>
                <a:gd name="T18" fmla="*/ 138161 w 264"/>
                <a:gd name="T19" fmla="*/ 162299 h 272"/>
                <a:gd name="T20" fmla="*/ 103621 w 264"/>
                <a:gd name="T21" fmla="*/ 191807 h 272"/>
                <a:gd name="T22" fmla="*/ 17270 w 264"/>
                <a:gd name="T23" fmla="*/ 206562 h 272"/>
                <a:gd name="T24" fmla="*/ 0 w 264"/>
                <a:gd name="T25" fmla="*/ 221316 h 272"/>
                <a:gd name="T26" fmla="*/ 0 w 264"/>
                <a:gd name="T27" fmla="*/ 250825 h 272"/>
                <a:gd name="T28" fmla="*/ 0 w 264"/>
                <a:gd name="T29" fmla="*/ 265579 h 272"/>
                <a:gd name="T30" fmla="*/ 103621 w 264"/>
                <a:gd name="T31" fmla="*/ 324597 h 272"/>
                <a:gd name="T32" fmla="*/ 259051 w 264"/>
                <a:gd name="T33" fmla="*/ 442632 h 272"/>
                <a:gd name="T34" fmla="*/ 293592 w 264"/>
                <a:gd name="T35" fmla="*/ 457387 h 272"/>
                <a:gd name="T36" fmla="*/ 328132 w 264"/>
                <a:gd name="T37" fmla="*/ 472141 h 272"/>
                <a:gd name="T38" fmla="*/ 328132 w 264"/>
                <a:gd name="T39" fmla="*/ 501650 h 272"/>
                <a:gd name="T40" fmla="*/ 362672 w 264"/>
                <a:gd name="T41" fmla="*/ 501650 h 272"/>
                <a:gd name="T42" fmla="*/ 397212 w 264"/>
                <a:gd name="T43" fmla="*/ 486896 h 272"/>
                <a:gd name="T44" fmla="*/ 569913 w 264"/>
                <a:gd name="T45" fmla="*/ 368860 h 272"/>
                <a:gd name="T46" fmla="*/ 552643 w 264"/>
                <a:gd name="T47" fmla="*/ 339351 h 272"/>
                <a:gd name="T48" fmla="*/ 535373 w 264"/>
                <a:gd name="T49" fmla="*/ 339351 h 272"/>
                <a:gd name="T50" fmla="*/ 500833 w 264"/>
                <a:gd name="T51" fmla="*/ 295088 h 272"/>
                <a:gd name="T52" fmla="*/ 518103 w 264"/>
                <a:gd name="T53" fmla="*/ 280334 h 272"/>
                <a:gd name="T54" fmla="*/ 518103 w 264"/>
                <a:gd name="T55" fmla="*/ 250825 h 272"/>
                <a:gd name="T56" fmla="*/ 518103 w 264"/>
                <a:gd name="T57" fmla="*/ 206562 h 272"/>
                <a:gd name="T58" fmla="*/ 500833 w 264"/>
                <a:gd name="T59" fmla="*/ 191807 h 272"/>
                <a:gd name="T60" fmla="*/ 500833 w 264"/>
                <a:gd name="T61" fmla="*/ 177053 h 272"/>
                <a:gd name="T62" fmla="*/ 500833 w 264"/>
                <a:gd name="T63" fmla="*/ 132790 h 272"/>
                <a:gd name="T64" fmla="*/ 466292 w 264"/>
                <a:gd name="T65" fmla="*/ 118035 h 272"/>
                <a:gd name="T66" fmla="*/ 449022 w 264"/>
                <a:gd name="T67" fmla="*/ 88526 h 272"/>
                <a:gd name="T68" fmla="*/ 483562 w 264"/>
                <a:gd name="T69" fmla="*/ 59018 h 272"/>
                <a:gd name="T70" fmla="*/ 483562 w 264"/>
                <a:gd name="T71" fmla="*/ 14754 h 272"/>
                <a:gd name="T72" fmla="*/ 483562 w 264"/>
                <a:gd name="T73" fmla="*/ 0 h 272"/>
                <a:gd name="T74" fmla="*/ 466292 w 264"/>
                <a:gd name="T75" fmla="*/ 0 h 27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4"/>
                <a:gd name="T115" fmla="*/ 0 h 272"/>
                <a:gd name="T116" fmla="*/ 264 w 264"/>
                <a:gd name="T117" fmla="*/ 272 h 27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4" h="272">
                  <a:moveTo>
                    <a:pt x="216" y="0"/>
                  </a:moveTo>
                  <a:lnTo>
                    <a:pt x="192" y="0"/>
                  </a:lnTo>
                  <a:lnTo>
                    <a:pt x="184" y="0"/>
                  </a:lnTo>
                  <a:lnTo>
                    <a:pt x="168" y="0"/>
                  </a:lnTo>
                  <a:lnTo>
                    <a:pt x="128" y="8"/>
                  </a:lnTo>
                  <a:lnTo>
                    <a:pt x="88" y="24"/>
                  </a:lnTo>
                  <a:lnTo>
                    <a:pt x="96" y="32"/>
                  </a:lnTo>
                  <a:lnTo>
                    <a:pt x="96" y="72"/>
                  </a:lnTo>
                  <a:lnTo>
                    <a:pt x="64" y="80"/>
                  </a:lnTo>
                  <a:lnTo>
                    <a:pt x="64" y="88"/>
                  </a:lnTo>
                  <a:lnTo>
                    <a:pt x="48" y="104"/>
                  </a:lnTo>
                  <a:lnTo>
                    <a:pt x="8" y="112"/>
                  </a:lnTo>
                  <a:lnTo>
                    <a:pt x="0" y="120"/>
                  </a:lnTo>
                  <a:lnTo>
                    <a:pt x="0" y="136"/>
                  </a:lnTo>
                  <a:lnTo>
                    <a:pt x="0" y="144"/>
                  </a:lnTo>
                  <a:lnTo>
                    <a:pt x="48" y="176"/>
                  </a:lnTo>
                  <a:lnTo>
                    <a:pt x="120" y="240"/>
                  </a:lnTo>
                  <a:lnTo>
                    <a:pt x="136" y="248"/>
                  </a:lnTo>
                  <a:lnTo>
                    <a:pt x="152" y="256"/>
                  </a:lnTo>
                  <a:lnTo>
                    <a:pt x="152" y="272"/>
                  </a:lnTo>
                  <a:lnTo>
                    <a:pt x="168" y="272"/>
                  </a:lnTo>
                  <a:lnTo>
                    <a:pt x="184" y="264"/>
                  </a:lnTo>
                  <a:lnTo>
                    <a:pt x="264" y="200"/>
                  </a:lnTo>
                  <a:lnTo>
                    <a:pt x="256" y="184"/>
                  </a:lnTo>
                  <a:lnTo>
                    <a:pt x="248" y="184"/>
                  </a:lnTo>
                  <a:lnTo>
                    <a:pt x="232" y="160"/>
                  </a:lnTo>
                  <a:lnTo>
                    <a:pt x="240" y="152"/>
                  </a:lnTo>
                  <a:lnTo>
                    <a:pt x="240" y="136"/>
                  </a:lnTo>
                  <a:lnTo>
                    <a:pt x="240" y="112"/>
                  </a:lnTo>
                  <a:lnTo>
                    <a:pt x="232" y="104"/>
                  </a:lnTo>
                  <a:lnTo>
                    <a:pt x="232" y="96"/>
                  </a:lnTo>
                  <a:lnTo>
                    <a:pt x="232" y="72"/>
                  </a:lnTo>
                  <a:lnTo>
                    <a:pt x="216" y="64"/>
                  </a:lnTo>
                  <a:lnTo>
                    <a:pt x="208" y="48"/>
                  </a:lnTo>
                  <a:lnTo>
                    <a:pt x="224" y="32"/>
                  </a:lnTo>
                  <a:lnTo>
                    <a:pt x="224" y="8"/>
                  </a:lnTo>
                  <a:lnTo>
                    <a:pt x="224" y="0"/>
                  </a:lnTo>
                  <a:lnTo>
                    <a:pt x="21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1" name="Freeform 41">
              <a:extLst>
                <a:ext uri="{FF2B5EF4-FFF2-40B4-BE49-F238E27FC236}">
                  <a16:creationId xmlns:a16="http://schemas.microsoft.com/office/drawing/2014/main" id="{9110E7D9-D6E1-99F9-9C07-0C15A6A43164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5160963" y="4044951"/>
              <a:ext cx="293688" cy="441325"/>
            </a:xfrm>
            <a:custGeom>
              <a:avLst/>
              <a:gdLst>
                <a:gd name="T0" fmla="*/ 34552 w 136"/>
                <a:gd name="T1" fmla="*/ 44133 h 240"/>
                <a:gd name="T2" fmla="*/ 51827 w 136"/>
                <a:gd name="T3" fmla="*/ 73554 h 240"/>
                <a:gd name="T4" fmla="*/ 69103 w 136"/>
                <a:gd name="T5" fmla="*/ 73554 h 240"/>
                <a:gd name="T6" fmla="*/ 51827 w 136"/>
                <a:gd name="T7" fmla="*/ 161819 h 240"/>
                <a:gd name="T8" fmla="*/ 0 w 136"/>
                <a:gd name="T9" fmla="*/ 250084 h 240"/>
                <a:gd name="T10" fmla="*/ 0 w 136"/>
                <a:gd name="T11" fmla="*/ 264795 h 240"/>
                <a:gd name="T12" fmla="*/ 17276 w 136"/>
                <a:gd name="T13" fmla="*/ 279506 h 240"/>
                <a:gd name="T14" fmla="*/ 34552 w 136"/>
                <a:gd name="T15" fmla="*/ 294217 h 240"/>
                <a:gd name="T16" fmla="*/ 34552 w 136"/>
                <a:gd name="T17" fmla="*/ 338349 h 240"/>
                <a:gd name="T18" fmla="*/ 51827 w 136"/>
                <a:gd name="T19" fmla="*/ 367771 h 240"/>
                <a:gd name="T20" fmla="*/ 17276 w 136"/>
                <a:gd name="T21" fmla="*/ 367771 h 240"/>
                <a:gd name="T22" fmla="*/ 17276 w 136"/>
                <a:gd name="T23" fmla="*/ 382482 h 240"/>
                <a:gd name="T24" fmla="*/ 34552 w 136"/>
                <a:gd name="T25" fmla="*/ 397193 h 240"/>
                <a:gd name="T26" fmla="*/ 51827 w 136"/>
                <a:gd name="T27" fmla="*/ 441325 h 240"/>
                <a:gd name="T28" fmla="*/ 138206 w 136"/>
                <a:gd name="T29" fmla="*/ 426614 h 240"/>
                <a:gd name="T30" fmla="*/ 155482 w 136"/>
                <a:gd name="T31" fmla="*/ 411903 h 240"/>
                <a:gd name="T32" fmla="*/ 155482 w 136"/>
                <a:gd name="T33" fmla="*/ 397193 h 240"/>
                <a:gd name="T34" fmla="*/ 207309 w 136"/>
                <a:gd name="T35" fmla="*/ 382482 h 240"/>
                <a:gd name="T36" fmla="*/ 241861 w 136"/>
                <a:gd name="T37" fmla="*/ 353060 h 240"/>
                <a:gd name="T38" fmla="*/ 259136 w 136"/>
                <a:gd name="T39" fmla="*/ 338349 h 240"/>
                <a:gd name="T40" fmla="*/ 276412 w 136"/>
                <a:gd name="T41" fmla="*/ 323638 h 240"/>
                <a:gd name="T42" fmla="*/ 241861 w 136"/>
                <a:gd name="T43" fmla="*/ 279506 h 240"/>
                <a:gd name="T44" fmla="*/ 276412 w 136"/>
                <a:gd name="T45" fmla="*/ 205952 h 240"/>
                <a:gd name="T46" fmla="*/ 293688 w 136"/>
                <a:gd name="T47" fmla="*/ 205952 h 240"/>
                <a:gd name="T48" fmla="*/ 293688 w 136"/>
                <a:gd name="T49" fmla="*/ 191241 h 240"/>
                <a:gd name="T50" fmla="*/ 293688 w 136"/>
                <a:gd name="T51" fmla="*/ 102976 h 240"/>
                <a:gd name="T52" fmla="*/ 86379 w 136"/>
                <a:gd name="T53" fmla="*/ 0 h 240"/>
                <a:gd name="T54" fmla="*/ 34552 w 136"/>
                <a:gd name="T55" fmla="*/ 0 h 240"/>
                <a:gd name="T56" fmla="*/ 34552 w 136"/>
                <a:gd name="T57" fmla="*/ 44133 h 24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"/>
                <a:gd name="T88" fmla="*/ 0 h 240"/>
                <a:gd name="T89" fmla="*/ 136 w 136"/>
                <a:gd name="T90" fmla="*/ 240 h 24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" h="240">
                  <a:moveTo>
                    <a:pt x="16" y="24"/>
                  </a:moveTo>
                  <a:lnTo>
                    <a:pt x="24" y="40"/>
                  </a:lnTo>
                  <a:lnTo>
                    <a:pt x="32" y="40"/>
                  </a:lnTo>
                  <a:lnTo>
                    <a:pt x="24" y="88"/>
                  </a:lnTo>
                  <a:lnTo>
                    <a:pt x="0" y="136"/>
                  </a:lnTo>
                  <a:lnTo>
                    <a:pt x="0" y="144"/>
                  </a:lnTo>
                  <a:lnTo>
                    <a:pt x="8" y="152"/>
                  </a:lnTo>
                  <a:lnTo>
                    <a:pt x="16" y="160"/>
                  </a:lnTo>
                  <a:lnTo>
                    <a:pt x="16" y="184"/>
                  </a:lnTo>
                  <a:lnTo>
                    <a:pt x="24" y="200"/>
                  </a:lnTo>
                  <a:lnTo>
                    <a:pt x="8" y="200"/>
                  </a:lnTo>
                  <a:lnTo>
                    <a:pt x="8" y="208"/>
                  </a:lnTo>
                  <a:lnTo>
                    <a:pt x="16" y="216"/>
                  </a:lnTo>
                  <a:lnTo>
                    <a:pt x="24" y="240"/>
                  </a:lnTo>
                  <a:lnTo>
                    <a:pt x="64" y="232"/>
                  </a:lnTo>
                  <a:lnTo>
                    <a:pt x="72" y="224"/>
                  </a:lnTo>
                  <a:lnTo>
                    <a:pt x="72" y="216"/>
                  </a:lnTo>
                  <a:lnTo>
                    <a:pt x="96" y="208"/>
                  </a:lnTo>
                  <a:lnTo>
                    <a:pt x="112" y="192"/>
                  </a:lnTo>
                  <a:lnTo>
                    <a:pt x="120" y="184"/>
                  </a:lnTo>
                  <a:lnTo>
                    <a:pt x="128" y="176"/>
                  </a:lnTo>
                  <a:lnTo>
                    <a:pt x="112" y="152"/>
                  </a:lnTo>
                  <a:lnTo>
                    <a:pt x="128" y="112"/>
                  </a:lnTo>
                  <a:lnTo>
                    <a:pt x="136" y="112"/>
                  </a:lnTo>
                  <a:lnTo>
                    <a:pt x="136" y="104"/>
                  </a:lnTo>
                  <a:lnTo>
                    <a:pt x="136" y="56"/>
                  </a:lnTo>
                  <a:lnTo>
                    <a:pt x="40" y="0"/>
                  </a:lnTo>
                  <a:lnTo>
                    <a:pt x="16" y="0"/>
                  </a:lnTo>
                  <a:lnTo>
                    <a:pt x="16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2" name="Freeform 42">
              <a:extLst>
                <a:ext uri="{FF2B5EF4-FFF2-40B4-BE49-F238E27FC236}">
                  <a16:creationId xmlns:a16="http://schemas.microsoft.com/office/drawing/2014/main" id="{978E4B97-3471-3F7E-F34E-B4B3F7773EE9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991226" y="4191001"/>
              <a:ext cx="293688" cy="147638"/>
            </a:xfrm>
            <a:custGeom>
              <a:avLst/>
              <a:gdLst>
                <a:gd name="T0" fmla="*/ 0 w 136"/>
                <a:gd name="T1" fmla="*/ 44291 h 80"/>
                <a:gd name="T2" fmla="*/ 34552 w 136"/>
                <a:gd name="T3" fmla="*/ 29528 h 80"/>
                <a:gd name="T4" fmla="*/ 86379 w 136"/>
                <a:gd name="T5" fmla="*/ 88583 h 80"/>
                <a:gd name="T6" fmla="*/ 190033 w 136"/>
                <a:gd name="T7" fmla="*/ 14764 h 80"/>
                <a:gd name="T8" fmla="*/ 276412 w 136"/>
                <a:gd name="T9" fmla="*/ 0 h 80"/>
                <a:gd name="T10" fmla="*/ 293688 w 136"/>
                <a:gd name="T11" fmla="*/ 29528 h 80"/>
                <a:gd name="T12" fmla="*/ 293688 w 136"/>
                <a:gd name="T13" fmla="*/ 44291 h 80"/>
                <a:gd name="T14" fmla="*/ 276412 w 136"/>
                <a:gd name="T15" fmla="*/ 44291 h 80"/>
                <a:gd name="T16" fmla="*/ 276412 w 136"/>
                <a:gd name="T17" fmla="*/ 59055 h 80"/>
                <a:gd name="T18" fmla="*/ 207309 w 136"/>
                <a:gd name="T19" fmla="*/ 88583 h 80"/>
                <a:gd name="T20" fmla="*/ 138206 w 136"/>
                <a:gd name="T21" fmla="*/ 132874 h 80"/>
                <a:gd name="T22" fmla="*/ 86379 w 136"/>
                <a:gd name="T23" fmla="*/ 132874 h 80"/>
                <a:gd name="T24" fmla="*/ 69103 w 136"/>
                <a:gd name="T25" fmla="*/ 147638 h 80"/>
                <a:gd name="T26" fmla="*/ 34552 w 136"/>
                <a:gd name="T27" fmla="*/ 147638 h 80"/>
                <a:gd name="T28" fmla="*/ 0 w 136"/>
                <a:gd name="T29" fmla="*/ 44291 h 8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6"/>
                <a:gd name="T46" fmla="*/ 0 h 80"/>
                <a:gd name="T47" fmla="*/ 136 w 136"/>
                <a:gd name="T48" fmla="*/ 80 h 8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6" h="80">
                  <a:moveTo>
                    <a:pt x="0" y="24"/>
                  </a:moveTo>
                  <a:lnTo>
                    <a:pt x="16" y="16"/>
                  </a:lnTo>
                  <a:lnTo>
                    <a:pt x="40" y="48"/>
                  </a:lnTo>
                  <a:lnTo>
                    <a:pt x="88" y="8"/>
                  </a:lnTo>
                  <a:lnTo>
                    <a:pt x="128" y="0"/>
                  </a:lnTo>
                  <a:lnTo>
                    <a:pt x="136" y="16"/>
                  </a:lnTo>
                  <a:lnTo>
                    <a:pt x="136" y="24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96" y="48"/>
                  </a:lnTo>
                  <a:lnTo>
                    <a:pt x="64" y="72"/>
                  </a:lnTo>
                  <a:lnTo>
                    <a:pt x="40" y="72"/>
                  </a:lnTo>
                  <a:lnTo>
                    <a:pt x="32" y="80"/>
                  </a:lnTo>
                  <a:lnTo>
                    <a:pt x="16" y="80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3" name="Freeform 43">
              <a:extLst>
                <a:ext uri="{FF2B5EF4-FFF2-40B4-BE49-F238E27FC236}">
                  <a16:creationId xmlns:a16="http://schemas.microsoft.com/office/drawing/2014/main" id="{65FC18DA-B871-AC03-6C4D-8C4DC0EFCD59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267451" y="4000501"/>
              <a:ext cx="207963" cy="220663"/>
            </a:xfrm>
            <a:custGeom>
              <a:avLst/>
              <a:gdLst>
                <a:gd name="T0" fmla="*/ 51991 w 96"/>
                <a:gd name="T1" fmla="*/ 220663 h 120"/>
                <a:gd name="T2" fmla="*/ 69321 w 96"/>
                <a:gd name="T3" fmla="*/ 220663 h 120"/>
                <a:gd name="T4" fmla="*/ 86651 w 96"/>
                <a:gd name="T5" fmla="*/ 191241 h 120"/>
                <a:gd name="T6" fmla="*/ 121312 w 96"/>
                <a:gd name="T7" fmla="*/ 191241 h 120"/>
                <a:gd name="T8" fmla="*/ 138642 w 96"/>
                <a:gd name="T9" fmla="*/ 161820 h 120"/>
                <a:gd name="T10" fmla="*/ 155972 w 96"/>
                <a:gd name="T11" fmla="*/ 161820 h 120"/>
                <a:gd name="T12" fmla="*/ 155972 w 96"/>
                <a:gd name="T13" fmla="*/ 132398 h 120"/>
                <a:gd name="T14" fmla="*/ 190633 w 96"/>
                <a:gd name="T15" fmla="*/ 88265 h 120"/>
                <a:gd name="T16" fmla="*/ 207963 w 96"/>
                <a:gd name="T17" fmla="*/ 58843 h 120"/>
                <a:gd name="T18" fmla="*/ 173303 w 96"/>
                <a:gd name="T19" fmla="*/ 29422 h 120"/>
                <a:gd name="T20" fmla="*/ 121312 w 96"/>
                <a:gd name="T21" fmla="*/ 14711 h 120"/>
                <a:gd name="T22" fmla="*/ 103982 w 96"/>
                <a:gd name="T23" fmla="*/ 0 h 120"/>
                <a:gd name="T24" fmla="*/ 86651 w 96"/>
                <a:gd name="T25" fmla="*/ 14711 h 120"/>
                <a:gd name="T26" fmla="*/ 86651 w 96"/>
                <a:gd name="T27" fmla="*/ 29422 h 120"/>
                <a:gd name="T28" fmla="*/ 69321 w 96"/>
                <a:gd name="T29" fmla="*/ 29422 h 120"/>
                <a:gd name="T30" fmla="*/ 86651 w 96"/>
                <a:gd name="T31" fmla="*/ 44133 h 120"/>
                <a:gd name="T32" fmla="*/ 103982 w 96"/>
                <a:gd name="T33" fmla="*/ 58843 h 120"/>
                <a:gd name="T34" fmla="*/ 103982 w 96"/>
                <a:gd name="T35" fmla="*/ 88265 h 120"/>
                <a:gd name="T36" fmla="*/ 69321 w 96"/>
                <a:gd name="T37" fmla="*/ 147109 h 120"/>
                <a:gd name="T38" fmla="*/ 0 w 96"/>
                <a:gd name="T39" fmla="*/ 191241 h 120"/>
                <a:gd name="T40" fmla="*/ 17330 w 96"/>
                <a:gd name="T41" fmla="*/ 220663 h 120"/>
                <a:gd name="T42" fmla="*/ 51991 w 96"/>
                <a:gd name="T43" fmla="*/ 220663 h 12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6"/>
                <a:gd name="T67" fmla="*/ 0 h 120"/>
                <a:gd name="T68" fmla="*/ 96 w 96"/>
                <a:gd name="T69" fmla="*/ 120 h 12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6" h="120">
                  <a:moveTo>
                    <a:pt x="24" y="120"/>
                  </a:moveTo>
                  <a:lnTo>
                    <a:pt x="32" y="120"/>
                  </a:lnTo>
                  <a:lnTo>
                    <a:pt x="40" y="104"/>
                  </a:lnTo>
                  <a:lnTo>
                    <a:pt x="56" y="104"/>
                  </a:lnTo>
                  <a:lnTo>
                    <a:pt x="64" y="88"/>
                  </a:lnTo>
                  <a:lnTo>
                    <a:pt x="72" y="88"/>
                  </a:lnTo>
                  <a:lnTo>
                    <a:pt x="72" y="72"/>
                  </a:lnTo>
                  <a:lnTo>
                    <a:pt x="88" y="48"/>
                  </a:lnTo>
                  <a:lnTo>
                    <a:pt x="96" y="32"/>
                  </a:lnTo>
                  <a:lnTo>
                    <a:pt x="80" y="16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40" y="16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48" y="32"/>
                  </a:lnTo>
                  <a:lnTo>
                    <a:pt x="48" y="48"/>
                  </a:lnTo>
                  <a:lnTo>
                    <a:pt x="32" y="80"/>
                  </a:lnTo>
                  <a:lnTo>
                    <a:pt x="0" y="104"/>
                  </a:lnTo>
                  <a:lnTo>
                    <a:pt x="8" y="120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4" name="Freeform 44">
              <a:extLst>
                <a:ext uri="{FF2B5EF4-FFF2-40B4-BE49-F238E27FC236}">
                  <a16:creationId xmlns:a16="http://schemas.microsoft.com/office/drawing/2014/main" id="{602D40F4-23A6-F9DE-55F2-C97E3612F315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748338" y="3794126"/>
              <a:ext cx="622300" cy="485775"/>
            </a:xfrm>
            <a:custGeom>
              <a:avLst/>
              <a:gdLst>
                <a:gd name="T0" fmla="*/ 276578 w 288"/>
                <a:gd name="T1" fmla="*/ 88323 h 264"/>
                <a:gd name="T2" fmla="*/ 293864 w 288"/>
                <a:gd name="T3" fmla="*/ 88323 h 264"/>
                <a:gd name="T4" fmla="*/ 328436 w 288"/>
                <a:gd name="T5" fmla="*/ 88323 h 264"/>
                <a:gd name="T6" fmla="*/ 380294 w 288"/>
                <a:gd name="T7" fmla="*/ 103043 h 264"/>
                <a:gd name="T8" fmla="*/ 432153 w 288"/>
                <a:gd name="T9" fmla="*/ 147205 h 264"/>
                <a:gd name="T10" fmla="*/ 449439 w 288"/>
                <a:gd name="T11" fmla="*/ 191366 h 264"/>
                <a:gd name="T12" fmla="*/ 466725 w 288"/>
                <a:gd name="T13" fmla="*/ 220807 h 264"/>
                <a:gd name="T14" fmla="*/ 466725 w 288"/>
                <a:gd name="T15" fmla="*/ 235527 h 264"/>
                <a:gd name="T16" fmla="*/ 466725 w 288"/>
                <a:gd name="T17" fmla="*/ 250248 h 264"/>
                <a:gd name="T18" fmla="*/ 484011 w 288"/>
                <a:gd name="T19" fmla="*/ 250248 h 264"/>
                <a:gd name="T20" fmla="*/ 501297 w 288"/>
                <a:gd name="T21" fmla="*/ 250248 h 264"/>
                <a:gd name="T22" fmla="*/ 518583 w 288"/>
                <a:gd name="T23" fmla="*/ 250248 h 264"/>
                <a:gd name="T24" fmla="*/ 535869 w 288"/>
                <a:gd name="T25" fmla="*/ 250248 h 264"/>
                <a:gd name="T26" fmla="*/ 553156 w 288"/>
                <a:gd name="T27" fmla="*/ 250248 h 264"/>
                <a:gd name="T28" fmla="*/ 570442 w 288"/>
                <a:gd name="T29" fmla="*/ 250248 h 264"/>
                <a:gd name="T30" fmla="*/ 570442 w 288"/>
                <a:gd name="T31" fmla="*/ 235527 h 264"/>
                <a:gd name="T32" fmla="*/ 587728 w 288"/>
                <a:gd name="T33" fmla="*/ 235527 h 264"/>
                <a:gd name="T34" fmla="*/ 605014 w 288"/>
                <a:gd name="T35" fmla="*/ 250248 h 264"/>
                <a:gd name="T36" fmla="*/ 622300 w 288"/>
                <a:gd name="T37" fmla="*/ 264968 h 264"/>
                <a:gd name="T38" fmla="*/ 622300 w 288"/>
                <a:gd name="T39" fmla="*/ 294409 h 264"/>
                <a:gd name="T40" fmla="*/ 587728 w 288"/>
                <a:gd name="T41" fmla="*/ 353291 h 264"/>
                <a:gd name="T42" fmla="*/ 518583 w 288"/>
                <a:gd name="T43" fmla="*/ 397452 h 264"/>
                <a:gd name="T44" fmla="*/ 432153 w 288"/>
                <a:gd name="T45" fmla="*/ 412173 h 264"/>
                <a:gd name="T46" fmla="*/ 328436 w 288"/>
                <a:gd name="T47" fmla="*/ 485775 h 264"/>
                <a:gd name="T48" fmla="*/ 276578 w 288"/>
                <a:gd name="T49" fmla="*/ 426893 h 264"/>
                <a:gd name="T50" fmla="*/ 242006 w 288"/>
                <a:gd name="T51" fmla="*/ 441614 h 264"/>
                <a:gd name="T52" fmla="*/ 242006 w 288"/>
                <a:gd name="T53" fmla="*/ 426893 h 264"/>
                <a:gd name="T54" fmla="*/ 190147 w 288"/>
                <a:gd name="T55" fmla="*/ 353291 h 264"/>
                <a:gd name="T56" fmla="*/ 155575 w 288"/>
                <a:gd name="T57" fmla="*/ 338570 h 264"/>
                <a:gd name="T58" fmla="*/ 138289 w 288"/>
                <a:gd name="T59" fmla="*/ 309130 h 264"/>
                <a:gd name="T60" fmla="*/ 138289 w 288"/>
                <a:gd name="T61" fmla="*/ 264968 h 264"/>
                <a:gd name="T62" fmla="*/ 121003 w 288"/>
                <a:gd name="T63" fmla="*/ 235527 h 264"/>
                <a:gd name="T64" fmla="*/ 86431 w 288"/>
                <a:gd name="T65" fmla="*/ 220807 h 264"/>
                <a:gd name="T66" fmla="*/ 17286 w 288"/>
                <a:gd name="T67" fmla="*/ 117764 h 264"/>
                <a:gd name="T68" fmla="*/ 0 w 288"/>
                <a:gd name="T69" fmla="*/ 117764 h 264"/>
                <a:gd name="T70" fmla="*/ 0 w 288"/>
                <a:gd name="T71" fmla="*/ 73602 h 264"/>
                <a:gd name="T72" fmla="*/ 34572 w 288"/>
                <a:gd name="T73" fmla="*/ 73602 h 264"/>
                <a:gd name="T74" fmla="*/ 51858 w 288"/>
                <a:gd name="T75" fmla="*/ 58882 h 264"/>
                <a:gd name="T76" fmla="*/ 69144 w 288"/>
                <a:gd name="T77" fmla="*/ 58882 h 264"/>
                <a:gd name="T78" fmla="*/ 86431 w 288"/>
                <a:gd name="T79" fmla="*/ 44161 h 264"/>
                <a:gd name="T80" fmla="*/ 51858 w 288"/>
                <a:gd name="T81" fmla="*/ 14720 h 264"/>
                <a:gd name="T82" fmla="*/ 121003 w 288"/>
                <a:gd name="T83" fmla="*/ 0 h 264"/>
                <a:gd name="T84" fmla="*/ 155575 w 288"/>
                <a:gd name="T85" fmla="*/ 14720 h 264"/>
                <a:gd name="T86" fmla="*/ 224719 w 288"/>
                <a:gd name="T87" fmla="*/ 44161 h 264"/>
                <a:gd name="T88" fmla="*/ 242006 w 288"/>
                <a:gd name="T89" fmla="*/ 44161 h 264"/>
                <a:gd name="T90" fmla="*/ 242006 w 288"/>
                <a:gd name="T91" fmla="*/ 73602 h 264"/>
                <a:gd name="T92" fmla="*/ 276578 w 288"/>
                <a:gd name="T93" fmla="*/ 88323 h 26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88"/>
                <a:gd name="T142" fmla="*/ 0 h 264"/>
                <a:gd name="T143" fmla="*/ 288 w 288"/>
                <a:gd name="T144" fmla="*/ 264 h 26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88" h="264">
                  <a:moveTo>
                    <a:pt x="128" y="48"/>
                  </a:moveTo>
                  <a:lnTo>
                    <a:pt x="136" y="48"/>
                  </a:lnTo>
                  <a:lnTo>
                    <a:pt x="152" y="48"/>
                  </a:lnTo>
                  <a:lnTo>
                    <a:pt x="176" y="56"/>
                  </a:lnTo>
                  <a:lnTo>
                    <a:pt x="200" y="80"/>
                  </a:lnTo>
                  <a:lnTo>
                    <a:pt x="208" y="104"/>
                  </a:lnTo>
                  <a:lnTo>
                    <a:pt x="216" y="120"/>
                  </a:lnTo>
                  <a:lnTo>
                    <a:pt x="216" y="128"/>
                  </a:lnTo>
                  <a:lnTo>
                    <a:pt x="216" y="136"/>
                  </a:lnTo>
                  <a:lnTo>
                    <a:pt x="224" y="136"/>
                  </a:lnTo>
                  <a:lnTo>
                    <a:pt x="232" y="136"/>
                  </a:lnTo>
                  <a:lnTo>
                    <a:pt x="240" y="136"/>
                  </a:lnTo>
                  <a:lnTo>
                    <a:pt x="248" y="136"/>
                  </a:lnTo>
                  <a:lnTo>
                    <a:pt x="256" y="136"/>
                  </a:lnTo>
                  <a:lnTo>
                    <a:pt x="264" y="136"/>
                  </a:lnTo>
                  <a:lnTo>
                    <a:pt x="264" y="128"/>
                  </a:lnTo>
                  <a:lnTo>
                    <a:pt x="272" y="128"/>
                  </a:lnTo>
                  <a:lnTo>
                    <a:pt x="280" y="136"/>
                  </a:lnTo>
                  <a:lnTo>
                    <a:pt x="288" y="144"/>
                  </a:lnTo>
                  <a:lnTo>
                    <a:pt x="288" y="160"/>
                  </a:lnTo>
                  <a:lnTo>
                    <a:pt x="272" y="192"/>
                  </a:lnTo>
                  <a:lnTo>
                    <a:pt x="240" y="216"/>
                  </a:lnTo>
                  <a:lnTo>
                    <a:pt x="200" y="224"/>
                  </a:lnTo>
                  <a:lnTo>
                    <a:pt x="152" y="264"/>
                  </a:lnTo>
                  <a:lnTo>
                    <a:pt x="128" y="232"/>
                  </a:lnTo>
                  <a:lnTo>
                    <a:pt x="112" y="240"/>
                  </a:lnTo>
                  <a:lnTo>
                    <a:pt x="112" y="232"/>
                  </a:lnTo>
                  <a:lnTo>
                    <a:pt x="88" y="192"/>
                  </a:lnTo>
                  <a:lnTo>
                    <a:pt x="72" y="184"/>
                  </a:lnTo>
                  <a:lnTo>
                    <a:pt x="64" y="168"/>
                  </a:lnTo>
                  <a:lnTo>
                    <a:pt x="64" y="144"/>
                  </a:lnTo>
                  <a:lnTo>
                    <a:pt x="56" y="128"/>
                  </a:lnTo>
                  <a:lnTo>
                    <a:pt x="40" y="120"/>
                  </a:lnTo>
                  <a:lnTo>
                    <a:pt x="8" y="64"/>
                  </a:lnTo>
                  <a:lnTo>
                    <a:pt x="0" y="64"/>
                  </a:lnTo>
                  <a:lnTo>
                    <a:pt x="0" y="40"/>
                  </a:lnTo>
                  <a:lnTo>
                    <a:pt x="16" y="40"/>
                  </a:lnTo>
                  <a:lnTo>
                    <a:pt x="24" y="32"/>
                  </a:lnTo>
                  <a:lnTo>
                    <a:pt x="32" y="32"/>
                  </a:lnTo>
                  <a:lnTo>
                    <a:pt x="40" y="24"/>
                  </a:lnTo>
                  <a:lnTo>
                    <a:pt x="24" y="8"/>
                  </a:lnTo>
                  <a:lnTo>
                    <a:pt x="56" y="0"/>
                  </a:lnTo>
                  <a:lnTo>
                    <a:pt x="72" y="8"/>
                  </a:lnTo>
                  <a:lnTo>
                    <a:pt x="104" y="24"/>
                  </a:lnTo>
                  <a:lnTo>
                    <a:pt x="112" y="24"/>
                  </a:lnTo>
                  <a:lnTo>
                    <a:pt x="112" y="40"/>
                  </a:lnTo>
                  <a:lnTo>
                    <a:pt x="128" y="4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5" name="Freeform 45">
              <a:extLst>
                <a:ext uri="{FF2B5EF4-FFF2-40B4-BE49-F238E27FC236}">
                  <a16:creationId xmlns:a16="http://schemas.microsoft.com/office/drawing/2014/main" id="{4D91D235-29B3-BDE2-2413-BF85BA6DF6C6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197601" y="3970338"/>
              <a:ext cx="34925" cy="44450"/>
            </a:xfrm>
            <a:custGeom>
              <a:avLst/>
              <a:gdLst>
                <a:gd name="T0" fmla="*/ 0 w 16"/>
                <a:gd name="T1" fmla="*/ 14817 h 24"/>
                <a:gd name="T2" fmla="*/ 17463 w 16"/>
                <a:gd name="T3" fmla="*/ 0 h 24"/>
                <a:gd name="T4" fmla="*/ 34925 w 16"/>
                <a:gd name="T5" fmla="*/ 0 h 24"/>
                <a:gd name="T6" fmla="*/ 34925 w 16"/>
                <a:gd name="T7" fmla="*/ 29633 h 24"/>
                <a:gd name="T8" fmla="*/ 17463 w 16"/>
                <a:gd name="T9" fmla="*/ 44450 h 24"/>
                <a:gd name="T10" fmla="*/ 0 w 16"/>
                <a:gd name="T11" fmla="*/ 14817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24"/>
                <a:gd name="T20" fmla="*/ 16 w 16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24">
                  <a:moveTo>
                    <a:pt x="0" y="8"/>
                  </a:moveTo>
                  <a:lnTo>
                    <a:pt x="8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8" y="24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6" name="Freeform 46">
              <a:extLst>
                <a:ext uri="{FF2B5EF4-FFF2-40B4-BE49-F238E27FC236}">
                  <a16:creationId xmlns:a16="http://schemas.microsoft.com/office/drawing/2014/main" id="{BB957C90-34F0-09D3-EEA6-93E8DB63FAB1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6215063" y="3970338"/>
              <a:ext cx="155575" cy="74613"/>
            </a:xfrm>
            <a:custGeom>
              <a:avLst/>
              <a:gdLst>
                <a:gd name="T0" fmla="*/ 155575 w 72"/>
                <a:gd name="T1" fmla="*/ 14923 h 40"/>
                <a:gd name="T2" fmla="*/ 155575 w 72"/>
                <a:gd name="T3" fmla="*/ 29845 h 40"/>
                <a:gd name="T4" fmla="*/ 138289 w 72"/>
                <a:gd name="T5" fmla="*/ 44768 h 40"/>
                <a:gd name="T6" fmla="*/ 138289 w 72"/>
                <a:gd name="T7" fmla="*/ 59690 h 40"/>
                <a:gd name="T8" fmla="*/ 121003 w 72"/>
                <a:gd name="T9" fmla="*/ 59690 h 40"/>
                <a:gd name="T10" fmla="*/ 103717 w 72"/>
                <a:gd name="T11" fmla="*/ 59690 h 40"/>
                <a:gd name="T12" fmla="*/ 103717 w 72"/>
                <a:gd name="T13" fmla="*/ 74613 h 40"/>
                <a:gd name="T14" fmla="*/ 86431 w 72"/>
                <a:gd name="T15" fmla="*/ 74613 h 40"/>
                <a:gd name="T16" fmla="*/ 69144 w 72"/>
                <a:gd name="T17" fmla="*/ 74613 h 40"/>
                <a:gd name="T18" fmla="*/ 51858 w 72"/>
                <a:gd name="T19" fmla="*/ 74613 h 40"/>
                <a:gd name="T20" fmla="*/ 34572 w 72"/>
                <a:gd name="T21" fmla="*/ 74613 h 40"/>
                <a:gd name="T22" fmla="*/ 17286 w 72"/>
                <a:gd name="T23" fmla="*/ 74613 h 40"/>
                <a:gd name="T24" fmla="*/ 0 w 72"/>
                <a:gd name="T25" fmla="*/ 74613 h 40"/>
                <a:gd name="T26" fmla="*/ 0 w 72"/>
                <a:gd name="T27" fmla="*/ 59690 h 40"/>
                <a:gd name="T28" fmla="*/ 0 w 72"/>
                <a:gd name="T29" fmla="*/ 44768 h 40"/>
                <a:gd name="T30" fmla="*/ 34572 w 72"/>
                <a:gd name="T31" fmla="*/ 59690 h 40"/>
                <a:gd name="T32" fmla="*/ 51858 w 72"/>
                <a:gd name="T33" fmla="*/ 44768 h 40"/>
                <a:gd name="T34" fmla="*/ 86431 w 72"/>
                <a:gd name="T35" fmla="*/ 44768 h 40"/>
                <a:gd name="T36" fmla="*/ 138289 w 72"/>
                <a:gd name="T37" fmla="*/ 0 h 40"/>
                <a:gd name="T38" fmla="*/ 155575 w 72"/>
                <a:gd name="T39" fmla="*/ 14923 h 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2"/>
                <a:gd name="T61" fmla="*/ 0 h 40"/>
                <a:gd name="T62" fmla="*/ 72 w 72"/>
                <a:gd name="T63" fmla="*/ 40 h 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2" h="40">
                  <a:moveTo>
                    <a:pt x="72" y="8"/>
                  </a:moveTo>
                  <a:lnTo>
                    <a:pt x="72" y="16"/>
                  </a:lnTo>
                  <a:lnTo>
                    <a:pt x="64" y="24"/>
                  </a:lnTo>
                  <a:lnTo>
                    <a:pt x="64" y="32"/>
                  </a:lnTo>
                  <a:lnTo>
                    <a:pt x="56" y="32"/>
                  </a:lnTo>
                  <a:lnTo>
                    <a:pt x="48" y="32"/>
                  </a:lnTo>
                  <a:lnTo>
                    <a:pt x="48" y="40"/>
                  </a:lnTo>
                  <a:lnTo>
                    <a:pt x="40" y="40"/>
                  </a:lnTo>
                  <a:lnTo>
                    <a:pt x="32" y="40"/>
                  </a:lnTo>
                  <a:lnTo>
                    <a:pt x="24" y="40"/>
                  </a:lnTo>
                  <a:lnTo>
                    <a:pt x="16" y="40"/>
                  </a:lnTo>
                  <a:lnTo>
                    <a:pt x="8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16" y="32"/>
                  </a:lnTo>
                  <a:lnTo>
                    <a:pt x="24" y="24"/>
                  </a:lnTo>
                  <a:lnTo>
                    <a:pt x="40" y="24"/>
                  </a:lnTo>
                  <a:lnTo>
                    <a:pt x="64" y="0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7" name="Freeform 47">
              <a:extLst>
                <a:ext uri="{FF2B5EF4-FFF2-40B4-BE49-F238E27FC236}">
                  <a16:creationId xmlns:a16="http://schemas.microsoft.com/office/drawing/2014/main" id="{2EC2EC1E-1C8F-DD6A-AEA3-5B1174526D01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353176" y="3956051"/>
              <a:ext cx="17463" cy="28575"/>
            </a:xfrm>
            <a:custGeom>
              <a:avLst/>
              <a:gdLst>
                <a:gd name="T0" fmla="*/ 17463 w 8"/>
                <a:gd name="T1" fmla="*/ 28575 h 16"/>
                <a:gd name="T2" fmla="*/ 17463 w 8"/>
                <a:gd name="T3" fmla="*/ 0 h 16"/>
                <a:gd name="T4" fmla="*/ 0 w 8"/>
                <a:gd name="T5" fmla="*/ 0 h 16"/>
                <a:gd name="T6" fmla="*/ 0 w 8"/>
                <a:gd name="T7" fmla="*/ 14288 h 16"/>
                <a:gd name="T8" fmla="*/ 17463 w 8"/>
                <a:gd name="T9" fmla="*/ 28575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6"/>
                <a:gd name="T17" fmla="*/ 8 w 8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6">
                  <a:moveTo>
                    <a:pt x="8" y="16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8" name="Freeform 48">
              <a:extLst>
                <a:ext uri="{FF2B5EF4-FFF2-40B4-BE49-F238E27FC236}">
                  <a16:creationId xmlns:a16="http://schemas.microsoft.com/office/drawing/2014/main" id="{78047578-488B-D2E4-19FC-A780AE95BD26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8550276" y="4692651"/>
              <a:ext cx="293688" cy="250825"/>
            </a:xfrm>
            <a:custGeom>
              <a:avLst/>
              <a:gdLst>
                <a:gd name="T0" fmla="*/ 293688 w 136"/>
                <a:gd name="T1" fmla="*/ 250825 h 136"/>
                <a:gd name="T2" fmla="*/ 259136 w 136"/>
                <a:gd name="T3" fmla="*/ 221316 h 136"/>
                <a:gd name="T4" fmla="*/ 190033 w 136"/>
                <a:gd name="T5" fmla="*/ 236071 h 136"/>
                <a:gd name="T6" fmla="*/ 207309 w 136"/>
                <a:gd name="T7" fmla="*/ 206562 h 136"/>
                <a:gd name="T8" fmla="*/ 224585 w 136"/>
                <a:gd name="T9" fmla="*/ 206562 h 136"/>
                <a:gd name="T10" fmla="*/ 207309 w 136"/>
                <a:gd name="T11" fmla="*/ 147544 h 136"/>
                <a:gd name="T12" fmla="*/ 190033 w 136"/>
                <a:gd name="T13" fmla="*/ 132790 h 136"/>
                <a:gd name="T14" fmla="*/ 120930 w 136"/>
                <a:gd name="T15" fmla="*/ 118035 h 136"/>
                <a:gd name="T16" fmla="*/ 86379 w 136"/>
                <a:gd name="T17" fmla="*/ 88526 h 136"/>
                <a:gd name="T18" fmla="*/ 69103 w 136"/>
                <a:gd name="T19" fmla="*/ 103281 h 136"/>
                <a:gd name="T20" fmla="*/ 51827 w 136"/>
                <a:gd name="T21" fmla="*/ 103281 h 136"/>
                <a:gd name="T22" fmla="*/ 51827 w 136"/>
                <a:gd name="T23" fmla="*/ 88526 h 136"/>
                <a:gd name="T24" fmla="*/ 34552 w 136"/>
                <a:gd name="T25" fmla="*/ 73772 h 136"/>
                <a:gd name="T26" fmla="*/ 86379 w 136"/>
                <a:gd name="T27" fmla="*/ 73772 h 136"/>
                <a:gd name="T28" fmla="*/ 86379 w 136"/>
                <a:gd name="T29" fmla="*/ 59018 h 136"/>
                <a:gd name="T30" fmla="*/ 34552 w 136"/>
                <a:gd name="T31" fmla="*/ 59018 h 136"/>
                <a:gd name="T32" fmla="*/ 34552 w 136"/>
                <a:gd name="T33" fmla="*/ 44263 h 136"/>
                <a:gd name="T34" fmla="*/ 0 w 136"/>
                <a:gd name="T35" fmla="*/ 29509 h 136"/>
                <a:gd name="T36" fmla="*/ 34552 w 136"/>
                <a:gd name="T37" fmla="*/ 0 h 136"/>
                <a:gd name="T38" fmla="*/ 69103 w 136"/>
                <a:gd name="T39" fmla="*/ 0 h 136"/>
                <a:gd name="T40" fmla="*/ 69103 w 136"/>
                <a:gd name="T41" fmla="*/ 14754 h 136"/>
                <a:gd name="T42" fmla="*/ 86379 w 136"/>
                <a:gd name="T43" fmla="*/ 14754 h 136"/>
                <a:gd name="T44" fmla="*/ 103655 w 136"/>
                <a:gd name="T45" fmla="*/ 59018 h 136"/>
                <a:gd name="T46" fmla="*/ 120930 w 136"/>
                <a:gd name="T47" fmla="*/ 88526 h 136"/>
                <a:gd name="T48" fmla="*/ 138206 w 136"/>
                <a:gd name="T49" fmla="*/ 88526 h 136"/>
                <a:gd name="T50" fmla="*/ 172758 w 136"/>
                <a:gd name="T51" fmla="*/ 59018 h 136"/>
                <a:gd name="T52" fmla="*/ 207309 w 136"/>
                <a:gd name="T53" fmla="*/ 44263 h 136"/>
                <a:gd name="T54" fmla="*/ 293688 w 136"/>
                <a:gd name="T55" fmla="*/ 73772 h 136"/>
                <a:gd name="T56" fmla="*/ 293688 w 136"/>
                <a:gd name="T57" fmla="*/ 250825 h 1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"/>
                <a:gd name="T88" fmla="*/ 0 h 136"/>
                <a:gd name="T89" fmla="*/ 136 w 136"/>
                <a:gd name="T90" fmla="*/ 136 h 1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" h="136">
                  <a:moveTo>
                    <a:pt x="136" y="136"/>
                  </a:moveTo>
                  <a:lnTo>
                    <a:pt x="120" y="120"/>
                  </a:lnTo>
                  <a:lnTo>
                    <a:pt x="88" y="128"/>
                  </a:lnTo>
                  <a:lnTo>
                    <a:pt x="96" y="112"/>
                  </a:lnTo>
                  <a:lnTo>
                    <a:pt x="104" y="112"/>
                  </a:lnTo>
                  <a:lnTo>
                    <a:pt x="96" y="80"/>
                  </a:lnTo>
                  <a:lnTo>
                    <a:pt x="88" y="72"/>
                  </a:lnTo>
                  <a:lnTo>
                    <a:pt x="56" y="64"/>
                  </a:lnTo>
                  <a:lnTo>
                    <a:pt x="40" y="48"/>
                  </a:lnTo>
                  <a:lnTo>
                    <a:pt x="32" y="56"/>
                  </a:lnTo>
                  <a:lnTo>
                    <a:pt x="24" y="56"/>
                  </a:lnTo>
                  <a:lnTo>
                    <a:pt x="24" y="48"/>
                  </a:lnTo>
                  <a:lnTo>
                    <a:pt x="16" y="40"/>
                  </a:lnTo>
                  <a:lnTo>
                    <a:pt x="40" y="40"/>
                  </a:lnTo>
                  <a:lnTo>
                    <a:pt x="40" y="32"/>
                  </a:lnTo>
                  <a:lnTo>
                    <a:pt x="16" y="32"/>
                  </a:lnTo>
                  <a:lnTo>
                    <a:pt x="16" y="24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32" y="0"/>
                  </a:lnTo>
                  <a:lnTo>
                    <a:pt x="32" y="8"/>
                  </a:lnTo>
                  <a:lnTo>
                    <a:pt x="40" y="8"/>
                  </a:lnTo>
                  <a:lnTo>
                    <a:pt x="48" y="32"/>
                  </a:lnTo>
                  <a:lnTo>
                    <a:pt x="56" y="48"/>
                  </a:lnTo>
                  <a:lnTo>
                    <a:pt x="64" y="48"/>
                  </a:lnTo>
                  <a:lnTo>
                    <a:pt x="80" y="32"/>
                  </a:lnTo>
                  <a:lnTo>
                    <a:pt x="96" y="24"/>
                  </a:lnTo>
                  <a:lnTo>
                    <a:pt x="136" y="40"/>
                  </a:lnTo>
                  <a:lnTo>
                    <a:pt x="136" y="13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9" name="Freeform 49">
              <a:extLst>
                <a:ext uri="{FF2B5EF4-FFF2-40B4-BE49-F238E27FC236}">
                  <a16:creationId xmlns:a16="http://schemas.microsoft.com/office/drawing/2014/main" id="{1B7078EC-C2AE-CCBA-B35E-2468F29B7905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843963" y="4767263"/>
              <a:ext cx="258763" cy="220663"/>
            </a:xfrm>
            <a:custGeom>
              <a:avLst/>
              <a:gdLst>
                <a:gd name="T0" fmla="*/ 0 w 120"/>
                <a:gd name="T1" fmla="*/ 0 h 120"/>
                <a:gd name="T2" fmla="*/ 69003 w 120"/>
                <a:gd name="T3" fmla="*/ 14711 h 120"/>
                <a:gd name="T4" fmla="*/ 120756 w 120"/>
                <a:gd name="T5" fmla="*/ 44133 h 120"/>
                <a:gd name="T6" fmla="*/ 138007 w 120"/>
                <a:gd name="T7" fmla="*/ 73554 h 120"/>
                <a:gd name="T8" fmla="*/ 172509 w 120"/>
                <a:gd name="T9" fmla="*/ 88265 h 120"/>
                <a:gd name="T10" fmla="*/ 189760 w 120"/>
                <a:gd name="T11" fmla="*/ 88265 h 120"/>
                <a:gd name="T12" fmla="*/ 189760 w 120"/>
                <a:gd name="T13" fmla="*/ 102976 h 120"/>
                <a:gd name="T14" fmla="*/ 172509 w 120"/>
                <a:gd name="T15" fmla="*/ 117687 h 120"/>
                <a:gd name="T16" fmla="*/ 172509 w 120"/>
                <a:gd name="T17" fmla="*/ 132398 h 120"/>
                <a:gd name="T18" fmla="*/ 189760 w 120"/>
                <a:gd name="T19" fmla="*/ 147109 h 120"/>
                <a:gd name="T20" fmla="*/ 207010 w 120"/>
                <a:gd name="T21" fmla="*/ 176530 h 120"/>
                <a:gd name="T22" fmla="*/ 224261 w 120"/>
                <a:gd name="T23" fmla="*/ 176530 h 120"/>
                <a:gd name="T24" fmla="*/ 224261 w 120"/>
                <a:gd name="T25" fmla="*/ 191241 h 120"/>
                <a:gd name="T26" fmla="*/ 241512 w 120"/>
                <a:gd name="T27" fmla="*/ 191241 h 120"/>
                <a:gd name="T28" fmla="*/ 241512 w 120"/>
                <a:gd name="T29" fmla="*/ 205952 h 120"/>
                <a:gd name="T30" fmla="*/ 258763 w 120"/>
                <a:gd name="T31" fmla="*/ 205952 h 120"/>
                <a:gd name="T32" fmla="*/ 258763 w 120"/>
                <a:gd name="T33" fmla="*/ 220663 h 120"/>
                <a:gd name="T34" fmla="*/ 241512 w 120"/>
                <a:gd name="T35" fmla="*/ 220663 h 120"/>
                <a:gd name="T36" fmla="*/ 241512 w 120"/>
                <a:gd name="T37" fmla="*/ 205952 h 120"/>
                <a:gd name="T38" fmla="*/ 172509 w 120"/>
                <a:gd name="T39" fmla="*/ 205952 h 120"/>
                <a:gd name="T40" fmla="*/ 138007 w 120"/>
                <a:gd name="T41" fmla="*/ 147109 h 120"/>
                <a:gd name="T42" fmla="*/ 103505 w 120"/>
                <a:gd name="T43" fmla="*/ 132398 h 120"/>
                <a:gd name="T44" fmla="*/ 86254 w 120"/>
                <a:gd name="T45" fmla="*/ 132398 h 120"/>
                <a:gd name="T46" fmla="*/ 51753 w 120"/>
                <a:gd name="T47" fmla="*/ 161820 h 120"/>
                <a:gd name="T48" fmla="*/ 34502 w 120"/>
                <a:gd name="T49" fmla="*/ 176530 h 120"/>
                <a:gd name="T50" fmla="*/ 0 w 120"/>
                <a:gd name="T51" fmla="*/ 176530 h 120"/>
                <a:gd name="T52" fmla="*/ 0 w 120"/>
                <a:gd name="T53" fmla="*/ 0 h 12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0"/>
                <a:gd name="T82" fmla="*/ 0 h 120"/>
                <a:gd name="T83" fmla="*/ 120 w 120"/>
                <a:gd name="T84" fmla="*/ 120 h 12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0" h="120">
                  <a:moveTo>
                    <a:pt x="0" y="0"/>
                  </a:moveTo>
                  <a:lnTo>
                    <a:pt x="32" y="8"/>
                  </a:lnTo>
                  <a:lnTo>
                    <a:pt x="56" y="24"/>
                  </a:lnTo>
                  <a:lnTo>
                    <a:pt x="64" y="40"/>
                  </a:lnTo>
                  <a:lnTo>
                    <a:pt x="80" y="48"/>
                  </a:lnTo>
                  <a:lnTo>
                    <a:pt x="88" y="48"/>
                  </a:lnTo>
                  <a:lnTo>
                    <a:pt x="88" y="56"/>
                  </a:lnTo>
                  <a:lnTo>
                    <a:pt x="80" y="64"/>
                  </a:lnTo>
                  <a:lnTo>
                    <a:pt x="80" y="72"/>
                  </a:lnTo>
                  <a:lnTo>
                    <a:pt x="88" y="80"/>
                  </a:lnTo>
                  <a:lnTo>
                    <a:pt x="96" y="96"/>
                  </a:lnTo>
                  <a:lnTo>
                    <a:pt x="104" y="96"/>
                  </a:lnTo>
                  <a:lnTo>
                    <a:pt x="104" y="104"/>
                  </a:lnTo>
                  <a:lnTo>
                    <a:pt x="112" y="104"/>
                  </a:lnTo>
                  <a:lnTo>
                    <a:pt x="112" y="112"/>
                  </a:lnTo>
                  <a:lnTo>
                    <a:pt x="120" y="112"/>
                  </a:lnTo>
                  <a:lnTo>
                    <a:pt x="120" y="120"/>
                  </a:lnTo>
                  <a:lnTo>
                    <a:pt x="112" y="120"/>
                  </a:lnTo>
                  <a:lnTo>
                    <a:pt x="112" y="112"/>
                  </a:lnTo>
                  <a:lnTo>
                    <a:pt x="80" y="112"/>
                  </a:lnTo>
                  <a:lnTo>
                    <a:pt x="64" y="80"/>
                  </a:lnTo>
                  <a:lnTo>
                    <a:pt x="48" y="72"/>
                  </a:lnTo>
                  <a:lnTo>
                    <a:pt x="40" y="72"/>
                  </a:lnTo>
                  <a:lnTo>
                    <a:pt x="24" y="88"/>
                  </a:lnTo>
                  <a:lnTo>
                    <a:pt x="16" y="96"/>
                  </a:lnTo>
                  <a:lnTo>
                    <a:pt x="0" y="9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0" name="Freeform 50">
              <a:extLst>
                <a:ext uri="{FF2B5EF4-FFF2-40B4-BE49-F238E27FC236}">
                  <a16:creationId xmlns:a16="http://schemas.microsoft.com/office/drawing/2014/main" id="{1F693390-77AF-6AA8-6174-0199D882F40B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7926388" y="4575176"/>
              <a:ext cx="277813" cy="236538"/>
            </a:xfrm>
            <a:custGeom>
              <a:avLst/>
              <a:gdLst>
                <a:gd name="T0" fmla="*/ 208360 w 128"/>
                <a:gd name="T1" fmla="*/ 0 h 128"/>
                <a:gd name="T2" fmla="*/ 190996 w 128"/>
                <a:gd name="T3" fmla="*/ 0 h 128"/>
                <a:gd name="T4" fmla="*/ 156270 w 128"/>
                <a:gd name="T5" fmla="*/ 73918 h 128"/>
                <a:gd name="T6" fmla="*/ 121543 w 128"/>
                <a:gd name="T7" fmla="*/ 88702 h 128"/>
                <a:gd name="T8" fmla="*/ 86817 w 128"/>
                <a:gd name="T9" fmla="*/ 73918 h 128"/>
                <a:gd name="T10" fmla="*/ 69453 w 128"/>
                <a:gd name="T11" fmla="*/ 88702 h 128"/>
                <a:gd name="T12" fmla="*/ 34727 w 128"/>
                <a:gd name="T13" fmla="*/ 88702 h 128"/>
                <a:gd name="T14" fmla="*/ 17363 w 128"/>
                <a:gd name="T15" fmla="*/ 59135 h 128"/>
                <a:gd name="T16" fmla="*/ 0 w 128"/>
                <a:gd name="T17" fmla="*/ 88702 h 128"/>
                <a:gd name="T18" fmla="*/ 0 w 128"/>
                <a:gd name="T19" fmla="*/ 133053 h 128"/>
                <a:gd name="T20" fmla="*/ 17363 w 128"/>
                <a:gd name="T21" fmla="*/ 147836 h 128"/>
                <a:gd name="T22" fmla="*/ 34727 w 128"/>
                <a:gd name="T23" fmla="*/ 192187 h 128"/>
                <a:gd name="T24" fmla="*/ 69453 w 128"/>
                <a:gd name="T25" fmla="*/ 192187 h 128"/>
                <a:gd name="T26" fmla="*/ 69453 w 128"/>
                <a:gd name="T27" fmla="*/ 206971 h 128"/>
                <a:gd name="T28" fmla="*/ 121543 w 128"/>
                <a:gd name="T29" fmla="*/ 206971 h 128"/>
                <a:gd name="T30" fmla="*/ 138907 w 128"/>
                <a:gd name="T31" fmla="*/ 206971 h 128"/>
                <a:gd name="T32" fmla="*/ 156270 w 128"/>
                <a:gd name="T33" fmla="*/ 236538 h 128"/>
                <a:gd name="T34" fmla="*/ 173633 w 128"/>
                <a:gd name="T35" fmla="*/ 221754 h 128"/>
                <a:gd name="T36" fmla="*/ 208360 w 128"/>
                <a:gd name="T37" fmla="*/ 206971 h 128"/>
                <a:gd name="T38" fmla="*/ 208360 w 128"/>
                <a:gd name="T39" fmla="*/ 177403 h 128"/>
                <a:gd name="T40" fmla="*/ 208360 w 128"/>
                <a:gd name="T41" fmla="*/ 162620 h 128"/>
                <a:gd name="T42" fmla="*/ 225723 w 128"/>
                <a:gd name="T43" fmla="*/ 147836 h 128"/>
                <a:gd name="T44" fmla="*/ 260450 w 128"/>
                <a:gd name="T45" fmla="*/ 88702 h 128"/>
                <a:gd name="T46" fmla="*/ 277813 w 128"/>
                <a:gd name="T47" fmla="*/ 88702 h 128"/>
                <a:gd name="T48" fmla="*/ 243086 w 128"/>
                <a:gd name="T49" fmla="*/ 59135 h 128"/>
                <a:gd name="T50" fmla="*/ 260450 w 128"/>
                <a:gd name="T51" fmla="*/ 44351 h 128"/>
                <a:gd name="T52" fmla="*/ 243086 w 128"/>
                <a:gd name="T53" fmla="*/ 29567 h 128"/>
                <a:gd name="T54" fmla="*/ 243086 w 128"/>
                <a:gd name="T55" fmla="*/ 0 h 128"/>
                <a:gd name="T56" fmla="*/ 208360 w 128"/>
                <a:gd name="T57" fmla="*/ 0 h 12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28"/>
                <a:gd name="T88" fmla="*/ 0 h 128"/>
                <a:gd name="T89" fmla="*/ 128 w 128"/>
                <a:gd name="T90" fmla="*/ 128 h 12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28" h="128">
                  <a:moveTo>
                    <a:pt x="96" y="0"/>
                  </a:moveTo>
                  <a:lnTo>
                    <a:pt x="88" y="0"/>
                  </a:lnTo>
                  <a:lnTo>
                    <a:pt x="72" y="40"/>
                  </a:lnTo>
                  <a:lnTo>
                    <a:pt x="56" y="48"/>
                  </a:lnTo>
                  <a:lnTo>
                    <a:pt x="40" y="40"/>
                  </a:lnTo>
                  <a:lnTo>
                    <a:pt x="32" y="48"/>
                  </a:lnTo>
                  <a:lnTo>
                    <a:pt x="16" y="48"/>
                  </a:lnTo>
                  <a:lnTo>
                    <a:pt x="8" y="32"/>
                  </a:lnTo>
                  <a:lnTo>
                    <a:pt x="0" y="48"/>
                  </a:lnTo>
                  <a:lnTo>
                    <a:pt x="0" y="72"/>
                  </a:lnTo>
                  <a:lnTo>
                    <a:pt x="8" y="80"/>
                  </a:lnTo>
                  <a:lnTo>
                    <a:pt x="16" y="104"/>
                  </a:lnTo>
                  <a:lnTo>
                    <a:pt x="32" y="104"/>
                  </a:lnTo>
                  <a:lnTo>
                    <a:pt x="32" y="112"/>
                  </a:lnTo>
                  <a:lnTo>
                    <a:pt x="56" y="112"/>
                  </a:lnTo>
                  <a:lnTo>
                    <a:pt x="64" y="112"/>
                  </a:lnTo>
                  <a:lnTo>
                    <a:pt x="72" y="128"/>
                  </a:lnTo>
                  <a:lnTo>
                    <a:pt x="80" y="120"/>
                  </a:lnTo>
                  <a:lnTo>
                    <a:pt x="96" y="112"/>
                  </a:lnTo>
                  <a:lnTo>
                    <a:pt x="96" y="96"/>
                  </a:lnTo>
                  <a:lnTo>
                    <a:pt x="96" y="88"/>
                  </a:lnTo>
                  <a:lnTo>
                    <a:pt x="104" y="80"/>
                  </a:lnTo>
                  <a:lnTo>
                    <a:pt x="120" y="48"/>
                  </a:lnTo>
                  <a:lnTo>
                    <a:pt x="128" y="48"/>
                  </a:lnTo>
                  <a:lnTo>
                    <a:pt x="112" y="32"/>
                  </a:lnTo>
                  <a:lnTo>
                    <a:pt x="120" y="24"/>
                  </a:lnTo>
                  <a:lnTo>
                    <a:pt x="112" y="16"/>
                  </a:lnTo>
                  <a:lnTo>
                    <a:pt x="11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1" name="Freeform 51">
              <a:extLst>
                <a:ext uri="{FF2B5EF4-FFF2-40B4-BE49-F238E27FC236}">
                  <a16:creationId xmlns:a16="http://schemas.microsoft.com/office/drawing/2014/main" id="{360431FE-CE4C-8C48-4CCA-BBF036C4668C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7943851" y="4502151"/>
              <a:ext cx="277813" cy="161925"/>
            </a:xfrm>
            <a:custGeom>
              <a:avLst/>
              <a:gdLst>
                <a:gd name="T0" fmla="*/ 260450 w 128"/>
                <a:gd name="T1" fmla="*/ 58882 h 88"/>
                <a:gd name="T2" fmla="*/ 243086 w 128"/>
                <a:gd name="T3" fmla="*/ 58882 h 88"/>
                <a:gd name="T4" fmla="*/ 277813 w 128"/>
                <a:gd name="T5" fmla="*/ 44161 h 88"/>
                <a:gd name="T6" fmla="*/ 225723 w 128"/>
                <a:gd name="T7" fmla="*/ 29441 h 88"/>
                <a:gd name="T8" fmla="*/ 225723 w 128"/>
                <a:gd name="T9" fmla="*/ 14720 h 88"/>
                <a:gd name="T10" fmla="*/ 208360 w 128"/>
                <a:gd name="T11" fmla="*/ 0 h 88"/>
                <a:gd name="T12" fmla="*/ 156270 w 128"/>
                <a:gd name="T13" fmla="*/ 44161 h 88"/>
                <a:gd name="T14" fmla="*/ 156270 w 128"/>
                <a:gd name="T15" fmla="*/ 58882 h 88"/>
                <a:gd name="T16" fmla="*/ 138907 w 128"/>
                <a:gd name="T17" fmla="*/ 58882 h 88"/>
                <a:gd name="T18" fmla="*/ 138907 w 128"/>
                <a:gd name="T19" fmla="*/ 73602 h 88"/>
                <a:gd name="T20" fmla="*/ 121543 w 128"/>
                <a:gd name="T21" fmla="*/ 58882 h 88"/>
                <a:gd name="T22" fmla="*/ 86817 w 128"/>
                <a:gd name="T23" fmla="*/ 103043 h 88"/>
                <a:gd name="T24" fmla="*/ 52090 w 128"/>
                <a:gd name="T25" fmla="*/ 103043 h 88"/>
                <a:gd name="T26" fmla="*/ 34727 w 128"/>
                <a:gd name="T27" fmla="*/ 147205 h 88"/>
                <a:gd name="T28" fmla="*/ 0 w 128"/>
                <a:gd name="T29" fmla="*/ 132484 h 88"/>
                <a:gd name="T30" fmla="*/ 17363 w 128"/>
                <a:gd name="T31" fmla="*/ 161925 h 88"/>
                <a:gd name="T32" fmla="*/ 52090 w 128"/>
                <a:gd name="T33" fmla="*/ 161925 h 88"/>
                <a:gd name="T34" fmla="*/ 69453 w 128"/>
                <a:gd name="T35" fmla="*/ 147205 h 88"/>
                <a:gd name="T36" fmla="*/ 104180 w 128"/>
                <a:gd name="T37" fmla="*/ 161925 h 88"/>
                <a:gd name="T38" fmla="*/ 138907 w 128"/>
                <a:gd name="T39" fmla="*/ 147205 h 88"/>
                <a:gd name="T40" fmla="*/ 173633 w 128"/>
                <a:gd name="T41" fmla="*/ 73602 h 88"/>
                <a:gd name="T42" fmla="*/ 190996 w 128"/>
                <a:gd name="T43" fmla="*/ 73602 h 88"/>
                <a:gd name="T44" fmla="*/ 225723 w 128"/>
                <a:gd name="T45" fmla="*/ 73602 h 88"/>
                <a:gd name="T46" fmla="*/ 260450 w 128"/>
                <a:gd name="T47" fmla="*/ 58882 h 8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8"/>
                <a:gd name="T73" fmla="*/ 0 h 88"/>
                <a:gd name="T74" fmla="*/ 128 w 128"/>
                <a:gd name="T75" fmla="*/ 88 h 8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8" h="88">
                  <a:moveTo>
                    <a:pt x="120" y="32"/>
                  </a:moveTo>
                  <a:lnTo>
                    <a:pt x="112" y="32"/>
                  </a:lnTo>
                  <a:lnTo>
                    <a:pt x="128" y="24"/>
                  </a:lnTo>
                  <a:lnTo>
                    <a:pt x="104" y="16"/>
                  </a:lnTo>
                  <a:lnTo>
                    <a:pt x="104" y="8"/>
                  </a:lnTo>
                  <a:lnTo>
                    <a:pt x="96" y="0"/>
                  </a:lnTo>
                  <a:lnTo>
                    <a:pt x="72" y="24"/>
                  </a:lnTo>
                  <a:lnTo>
                    <a:pt x="72" y="32"/>
                  </a:lnTo>
                  <a:lnTo>
                    <a:pt x="64" y="32"/>
                  </a:lnTo>
                  <a:lnTo>
                    <a:pt x="64" y="40"/>
                  </a:lnTo>
                  <a:lnTo>
                    <a:pt x="56" y="32"/>
                  </a:lnTo>
                  <a:lnTo>
                    <a:pt x="40" y="56"/>
                  </a:lnTo>
                  <a:lnTo>
                    <a:pt x="24" y="56"/>
                  </a:lnTo>
                  <a:lnTo>
                    <a:pt x="16" y="80"/>
                  </a:lnTo>
                  <a:lnTo>
                    <a:pt x="0" y="72"/>
                  </a:lnTo>
                  <a:lnTo>
                    <a:pt x="8" y="88"/>
                  </a:lnTo>
                  <a:lnTo>
                    <a:pt x="24" y="88"/>
                  </a:lnTo>
                  <a:lnTo>
                    <a:pt x="32" y="80"/>
                  </a:lnTo>
                  <a:lnTo>
                    <a:pt x="48" y="88"/>
                  </a:lnTo>
                  <a:lnTo>
                    <a:pt x="64" y="80"/>
                  </a:lnTo>
                  <a:lnTo>
                    <a:pt x="80" y="40"/>
                  </a:lnTo>
                  <a:lnTo>
                    <a:pt x="88" y="40"/>
                  </a:lnTo>
                  <a:lnTo>
                    <a:pt x="104" y="40"/>
                  </a:lnTo>
                  <a:lnTo>
                    <a:pt x="120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2" name="Freeform 52">
              <a:extLst>
                <a:ext uri="{FF2B5EF4-FFF2-40B4-BE49-F238E27FC236}">
                  <a16:creationId xmlns:a16="http://schemas.microsoft.com/office/drawing/2014/main" id="{002058D3-2545-FDE7-F36A-3F4F8498BE38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8066088" y="4560888"/>
              <a:ext cx="33338" cy="14288"/>
            </a:xfrm>
            <a:custGeom>
              <a:avLst/>
              <a:gdLst>
                <a:gd name="T0" fmla="*/ 33338 w 16"/>
                <a:gd name="T1" fmla="*/ 0 h 8"/>
                <a:gd name="T2" fmla="*/ 16669 w 16"/>
                <a:gd name="T3" fmla="*/ 0 h 8"/>
                <a:gd name="T4" fmla="*/ 16669 w 16"/>
                <a:gd name="T5" fmla="*/ 14288 h 8"/>
                <a:gd name="T6" fmla="*/ 0 w 16"/>
                <a:gd name="T7" fmla="*/ 0 h 8"/>
                <a:gd name="T8" fmla="*/ 33338 w 1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16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3" name="Freeform 53">
              <a:extLst>
                <a:ext uri="{FF2B5EF4-FFF2-40B4-BE49-F238E27FC236}">
                  <a16:creationId xmlns:a16="http://schemas.microsoft.com/office/drawing/2014/main" id="{AD98E228-AC17-8BA6-E0F4-9BB61FA31629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7391401" y="3911601"/>
              <a:ext cx="258763" cy="515938"/>
            </a:xfrm>
            <a:custGeom>
              <a:avLst/>
              <a:gdLst>
                <a:gd name="T0" fmla="*/ 241512 w 120"/>
                <a:gd name="T1" fmla="*/ 442232 h 280"/>
                <a:gd name="T2" fmla="*/ 224261 w 120"/>
                <a:gd name="T3" fmla="*/ 383268 h 280"/>
                <a:gd name="T4" fmla="*/ 189760 w 120"/>
                <a:gd name="T5" fmla="*/ 368527 h 280"/>
                <a:gd name="T6" fmla="*/ 207010 w 120"/>
                <a:gd name="T7" fmla="*/ 324304 h 280"/>
                <a:gd name="T8" fmla="*/ 172509 w 120"/>
                <a:gd name="T9" fmla="*/ 265340 h 280"/>
                <a:gd name="T10" fmla="*/ 172509 w 120"/>
                <a:gd name="T11" fmla="*/ 235857 h 280"/>
                <a:gd name="T12" fmla="*/ 224261 w 120"/>
                <a:gd name="T13" fmla="*/ 206375 h 280"/>
                <a:gd name="T14" fmla="*/ 258763 w 120"/>
                <a:gd name="T15" fmla="*/ 176893 h 280"/>
                <a:gd name="T16" fmla="*/ 224261 w 120"/>
                <a:gd name="T17" fmla="*/ 176893 h 280"/>
                <a:gd name="T18" fmla="*/ 189760 w 120"/>
                <a:gd name="T19" fmla="*/ 162152 h 280"/>
                <a:gd name="T20" fmla="*/ 189760 w 120"/>
                <a:gd name="T21" fmla="*/ 132670 h 280"/>
                <a:gd name="T22" fmla="*/ 172509 w 120"/>
                <a:gd name="T23" fmla="*/ 132670 h 280"/>
                <a:gd name="T24" fmla="*/ 172509 w 120"/>
                <a:gd name="T25" fmla="*/ 103188 h 280"/>
                <a:gd name="T26" fmla="*/ 138007 w 120"/>
                <a:gd name="T27" fmla="*/ 117929 h 280"/>
                <a:gd name="T28" fmla="*/ 155258 w 120"/>
                <a:gd name="T29" fmla="*/ 29482 h 280"/>
                <a:gd name="T30" fmla="*/ 138007 w 120"/>
                <a:gd name="T31" fmla="*/ 0 h 280"/>
                <a:gd name="T32" fmla="*/ 103505 w 120"/>
                <a:gd name="T33" fmla="*/ 0 h 280"/>
                <a:gd name="T34" fmla="*/ 103505 w 120"/>
                <a:gd name="T35" fmla="*/ 14741 h 280"/>
                <a:gd name="T36" fmla="*/ 86254 w 120"/>
                <a:gd name="T37" fmla="*/ 14741 h 280"/>
                <a:gd name="T38" fmla="*/ 51753 w 120"/>
                <a:gd name="T39" fmla="*/ 44223 h 280"/>
                <a:gd name="T40" fmla="*/ 34502 w 120"/>
                <a:gd name="T41" fmla="*/ 117929 h 280"/>
                <a:gd name="T42" fmla="*/ 17251 w 120"/>
                <a:gd name="T43" fmla="*/ 117929 h 280"/>
                <a:gd name="T44" fmla="*/ 17251 w 120"/>
                <a:gd name="T45" fmla="*/ 162152 h 280"/>
                <a:gd name="T46" fmla="*/ 0 w 120"/>
                <a:gd name="T47" fmla="*/ 162152 h 280"/>
                <a:gd name="T48" fmla="*/ 0 w 120"/>
                <a:gd name="T49" fmla="*/ 191634 h 280"/>
                <a:gd name="T50" fmla="*/ 34502 w 120"/>
                <a:gd name="T51" fmla="*/ 221116 h 280"/>
                <a:gd name="T52" fmla="*/ 51753 w 120"/>
                <a:gd name="T53" fmla="*/ 250598 h 280"/>
                <a:gd name="T54" fmla="*/ 69003 w 120"/>
                <a:gd name="T55" fmla="*/ 250598 h 280"/>
                <a:gd name="T56" fmla="*/ 86254 w 120"/>
                <a:gd name="T57" fmla="*/ 294822 h 280"/>
                <a:gd name="T58" fmla="*/ 69003 w 120"/>
                <a:gd name="T59" fmla="*/ 324304 h 280"/>
                <a:gd name="T60" fmla="*/ 120756 w 120"/>
                <a:gd name="T61" fmla="*/ 339045 h 280"/>
                <a:gd name="T62" fmla="*/ 155258 w 120"/>
                <a:gd name="T63" fmla="*/ 309563 h 280"/>
                <a:gd name="T64" fmla="*/ 172509 w 120"/>
                <a:gd name="T65" fmla="*/ 324304 h 280"/>
                <a:gd name="T66" fmla="*/ 224261 w 120"/>
                <a:gd name="T67" fmla="*/ 427491 h 280"/>
                <a:gd name="T68" fmla="*/ 207010 w 120"/>
                <a:gd name="T69" fmla="*/ 442232 h 280"/>
                <a:gd name="T70" fmla="*/ 224261 w 120"/>
                <a:gd name="T71" fmla="*/ 471715 h 280"/>
                <a:gd name="T72" fmla="*/ 207010 w 120"/>
                <a:gd name="T73" fmla="*/ 515938 h 280"/>
                <a:gd name="T74" fmla="*/ 241512 w 120"/>
                <a:gd name="T75" fmla="*/ 442232 h 28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0"/>
                <a:gd name="T115" fmla="*/ 0 h 280"/>
                <a:gd name="T116" fmla="*/ 120 w 120"/>
                <a:gd name="T117" fmla="*/ 280 h 28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0" h="280">
                  <a:moveTo>
                    <a:pt x="112" y="240"/>
                  </a:moveTo>
                  <a:lnTo>
                    <a:pt x="104" y="208"/>
                  </a:lnTo>
                  <a:lnTo>
                    <a:pt x="88" y="200"/>
                  </a:lnTo>
                  <a:lnTo>
                    <a:pt x="96" y="176"/>
                  </a:lnTo>
                  <a:lnTo>
                    <a:pt x="80" y="144"/>
                  </a:lnTo>
                  <a:lnTo>
                    <a:pt x="80" y="128"/>
                  </a:lnTo>
                  <a:lnTo>
                    <a:pt x="104" y="112"/>
                  </a:lnTo>
                  <a:lnTo>
                    <a:pt x="120" y="96"/>
                  </a:lnTo>
                  <a:lnTo>
                    <a:pt x="104" y="96"/>
                  </a:lnTo>
                  <a:lnTo>
                    <a:pt x="88" y="88"/>
                  </a:lnTo>
                  <a:lnTo>
                    <a:pt x="88" y="72"/>
                  </a:lnTo>
                  <a:lnTo>
                    <a:pt x="80" y="72"/>
                  </a:lnTo>
                  <a:lnTo>
                    <a:pt x="80" y="56"/>
                  </a:lnTo>
                  <a:lnTo>
                    <a:pt x="64" y="64"/>
                  </a:lnTo>
                  <a:lnTo>
                    <a:pt x="72" y="16"/>
                  </a:lnTo>
                  <a:lnTo>
                    <a:pt x="64" y="0"/>
                  </a:lnTo>
                  <a:lnTo>
                    <a:pt x="48" y="0"/>
                  </a:lnTo>
                  <a:lnTo>
                    <a:pt x="48" y="8"/>
                  </a:lnTo>
                  <a:lnTo>
                    <a:pt x="40" y="8"/>
                  </a:lnTo>
                  <a:lnTo>
                    <a:pt x="24" y="24"/>
                  </a:lnTo>
                  <a:lnTo>
                    <a:pt x="16" y="64"/>
                  </a:lnTo>
                  <a:lnTo>
                    <a:pt x="8" y="64"/>
                  </a:lnTo>
                  <a:lnTo>
                    <a:pt x="8" y="88"/>
                  </a:lnTo>
                  <a:lnTo>
                    <a:pt x="0" y="88"/>
                  </a:lnTo>
                  <a:lnTo>
                    <a:pt x="0" y="104"/>
                  </a:lnTo>
                  <a:lnTo>
                    <a:pt x="16" y="120"/>
                  </a:lnTo>
                  <a:lnTo>
                    <a:pt x="24" y="136"/>
                  </a:lnTo>
                  <a:lnTo>
                    <a:pt x="32" y="136"/>
                  </a:lnTo>
                  <a:lnTo>
                    <a:pt x="40" y="160"/>
                  </a:lnTo>
                  <a:lnTo>
                    <a:pt x="32" y="176"/>
                  </a:lnTo>
                  <a:lnTo>
                    <a:pt x="56" y="184"/>
                  </a:lnTo>
                  <a:lnTo>
                    <a:pt x="72" y="168"/>
                  </a:lnTo>
                  <a:lnTo>
                    <a:pt x="80" y="176"/>
                  </a:lnTo>
                  <a:lnTo>
                    <a:pt x="104" y="232"/>
                  </a:lnTo>
                  <a:lnTo>
                    <a:pt x="96" y="240"/>
                  </a:lnTo>
                  <a:lnTo>
                    <a:pt x="104" y="256"/>
                  </a:lnTo>
                  <a:lnTo>
                    <a:pt x="96" y="280"/>
                  </a:lnTo>
                  <a:lnTo>
                    <a:pt x="112" y="24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4" name="Freeform 54">
              <a:extLst>
                <a:ext uri="{FF2B5EF4-FFF2-40B4-BE49-F238E27FC236}">
                  <a16:creationId xmlns:a16="http://schemas.microsoft.com/office/drawing/2014/main" id="{CC6DD5A1-E169-E5E3-3100-2BC2173AFA6A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7564438" y="4117976"/>
              <a:ext cx="223838" cy="412750"/>
            </a:xfrm>
            <a:custGeom>
              <a:avLst/>
              <a:gdLst>
                <a:gd name="T0" fmla="*/ 103310 w 104"/>
                <a:gd name="T1" fmla="*/ 383268 h 224"/>
                <a:gd name="T2" fmla="*/ 120528 w 104"/>
                <a:gd name="T3" fmla="*/ 398009 h 224"/>
                <a:gd name="T4" fmla="*/ 120528 w 104"/>
                <a:gd name="T5" fmla="*/ 412750 h 224"/>
                <a:gd name="T6" fmla="*/ 137746 w 104"/>
                <a:gd name="T7" fmla="*/ 412750 h 224"/>
                <a:gd name="T8" fmla="*/ 154965 w 104"/>
                <a:gd name="T9" fmla="*/ 398009 h 224"/>
                <a:gd name="T10" fmla="*/ 137746 w 104"/>
                <a:gd name="T11" fmla="*/ 383268 h 224"/>
                <a:gd name="T12" fmla="*/ 103310 w 104"/>
                <a:gd name="T13" fmla="*/ 368527 h 224"/>
                <a:gd name="T14" fmla="*/ 86092 w 104"/>
                <a:gd name="T15" fmla="*/ 309563 h 224"/>
                <a:gd name="T16" fmla="*/ 68873 w 104"/>
                <a:gd name="T17" fmla="*/ 309563 h 224"/>
                <a:gd name="T18" fmla="*/ 68873 w 104"/>
                <a:gd name="T19" fmla="*/ 280080 h 224"/>
                <a:gd name="T20" fmla="*/ 86092 w 104"/>
                <a:gd name="T21" fmla="*/ 235857 h 224"/>
                <a:gd name="T22" fmla="*/ 68873 w 104"/>
                <a:gd name="T23" fmla="*/ 206375 h 224"/>
                <a:gd name="T24" fmla="*/ 103310 w 104"/>
                <a:gd name="T25" fmla="*/ 206375 h 224"/>
                <a:gd name="T26" fmla="*/ 103310 w 104"/>
                <a:gd name="T27" fmla="*/ 221116 h 224"/>
                <a:gd name="T28" fmla="*/ 137746 w 104"/>
                <a:gd name="T29" fmla="*/ 221116 h 224"/>
                <a:gd name="T30" fmla="*/ 154965 w 104"/>
                <a:gd name="T31" fmla="*/ 235857 h 224"/>
                <a:gd name="T32" fmla="*/ 137746 w 104"/>
                <a:gd name="T33" fmla="*/ 206375 h 224"/>
                <a:gd name="T34" fmla="*/ 154965 w 104"/>
                <a:gd name="T35" fmla="*/ 176893 h 224"/>
                <a:gd name="T36" fmla="*/ 223838 w 104"/>
                <a:gd name="T37" fmla="*/ 176893 h 224"/>
                <a:gd name="T38" fmla="*/ 223838 w 104"/>
                <a:gd name="T39" fmla="*/ 147411 h 224"/>
                <a:gd name="T40" fmla="*/ 206620 w 104"/>
                <a:gd name="T41" fmla="*/ 117929 h 224"/>
                <a:gd name="T42" fmla="*/ 189401 w 104"/>
                <a:gd name="T43" fmla="*/ 88446 h 224"/>
                <a:gd name="T44" fmla="*/ 154965 w 104"/>
                <a:gd name="T45" fmla="*/ 58964 h 224"/>
                <a:gd name="T46" fmla="*/ 137746 w 104"/>
                <a:gd name="T47" fmla="*/ 73705 h 224"/>
                <a:gd name="T48" fmla="*/ 120528 w 104"/>
                <a:gd name="T49" fmla="*/ 58964 h 224"/>
                <a:gd name="T50" fmla="*/ 86092 w 104"/>
                <a:gd name="T51" fmla="*/ 73705 h 224"/>
                <a:gd name="T52" fmla="*/ 86092 w 104"/>
                <a:gd name="T53" fmla="*/ 29482 h 224"/>
                <a:gd name="T54" fmla="*/ 68873 w 104"/>
                <a:gd name="T55" fmla="*/ 14741 h 224"/>
                <a:gd name="T56" fmla="*/ 51655 w 104"/>
                <a:gd name="T57" fmla="*/ 0 h 224"/>
                <a:gd name="T58" fmla="*/ 0 w 104"/>
                <a:gd name="T59" fmla="*/ 29482 h 224"/>
                <a:gd name="T60" fmla="*/ 0 w 104"/>
                <a:gd name="T61" fmla="*/ 58964 h 224"/>
                <a:gd name="T62" fmla="*/ 34437 w 104"/>
                <a:gd name="T63" fmla="*/ 117929 h 224"/>
                <a:gd name="T64" fmla="*/ 17218 w 104"/>
                <a:gd name="T65" fmla="*/ 162152 h 224"/>
                <a:gd name="T66" fmla="*/ 51655 w 104"/>
                <a:gd name="T67" fmla="*/ 176893 h 224"/>
                <a:gd name="T68" fmla="*/ 68873 w 104"/>
                <a:gd name="T69" fmla="*/ 235857 h 224"/>
                <a:gd name="T70" fmla="*/ 34437 w 104"/>
                <a:gd name="T71" fmla="*/ 309563 h 224"/>
                <a:gd name="T72" fmla="*/ 34437 w 104"/>
                <a:gd name="T73" fmla="*/ 324304 h 224"/>
                <a:gd name="T74" fmla="*/ 51655 w 104"/>
                <a:gd name="T75" fmla="*/ 353786 h 224"/>
                <a:gd name="T76" fmla="*/ 51655 w 104"/>
                <a:gd name="T77" fmla="*/ 339045 h 224"/>
                <a:gd name="T78" fmla="*/ 103310 w 104"/>
                <a:gd name="T79" fmla="*/ 398009 h 224"/>
                <a:gd name="T80" fmla="*/ 103310 w 104"/>
                <a:gd name="T81" fmla="*/ 383268 h 22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4"/>
                <a:gd name="T124" fmla="*/ 0 h 224"/>
                <a:gd name="T125" fmla="*/ 104 w 104"/>
                <a:gd name="T126" fmla="*/ 224 h 22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4" h="224">
                  <a:moveTo>
                    <a:pt x="48" y="208"/>
                  </a:moveTo>
                  <a:lnTo>
                    <a:pt x="56" y="216"/>
                  </a:lnTo>
                  <a:lnTo>
                    <a:pt x="56" y="224"/>
                  </a:lnTo>
                  <a:lnTo>
                    <a:pt x="64" y="224"/>
                  </a:lnTo>
                  <a:lnTo>
                    <a:pt x="72" y="216"/>
                  </a:lnTo>
                  <a:lnTo>
                    <a:pt x="64" y="208"/>
                  </a:lnTo>
                  <a:lnTo>
                    <a:pt x="48" y="200"/>
                  </a:lnTo>
                  <a:lnTo>
                    <a:pt x="40" y="168"/>
                  </a:lnTo>
                  <a:lnTo>
                    <a:pt x="32" y="168"/>
                  </a:lnTo>
                  <a:lnTo>
                    <a:pt x="32" y="152"/>
                  </a:lnTo>
                  <a:lnTo>
                    <a:pt x="40" y="128"/>
                  </a:lnTo>
                  <a:lnTo>
                    <a:pt x="32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64" y="120"/>
                  </a:lnTo>
                  <a:lnTo>
                    <a:pt x="72" y="128"/>
                  </a:lnTo>
                  <a:lnTo>
                    <a:pt x="64" y="112"/>
                  </a:lnTo>
                  <a:lnTo>
                    <a:pt x="72" y="96"/>
                  </a:lnTo>
                  <a:lnTo>
                    <a:pt x="104" y="96"/>
                  </a:lnTo>
                  <a:lnTo>
                    <a:pt x="104" y="80"/>
                  </a:lnTo>
                  <a:lnTo>
                    <a:pt x="96" y="64"/>
                  </a:lnTo>
                  <a:lnTo>
                    <a:pt x="88" y="48"/>
                  </a:lnTo>
                  <a:lnTo>
                    <a:pt x="72" y="32"/>
                  </a:lnTo>
                  <a:lnTo>
                    <a:pt x="64" y="40"/>
                  </a:lnTo>
                  <a:lnTo>
                    <a:pt x="56" y="32"/>
                  </a:lnTo>
                  <a:lnTo>
                    <a:pt x="40" y="40"/>
                  </a:lnTo>
                  <a:lnTo>
                    <a:pt x="40" y="16"/>
                  </a:lnTo>
                  <a:lnTo>
                    <a:pt x="32" y="8"/>
                  </a:lnTo>
                  <a:lnTo>
                    <a:pt x="24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6" y="64"/>
                  </a:lnTo>
                  <a:lnTo>
                    <a:pt x="8" y="88"/>
                  </a:lnTo>
                  <a:lnTo>
                    <a:pt x="24" y="96"/>
                  </a:lnTo>
                  <a:lnTo>
                    <a:pt x="32" y="128"/>
                  </a:lnTo>
                  <a:lnTo>
                    <a:pt x="16" y="168"/>
                  </a:lnTo>
                  <a:lnTo>
                    <a:pt x="16" y="176"/>
                  </a:lnTo>
                  <a:lnTo>
                    <a:pt x="24" y="192"/>
                  </a:lnTo>
                  <a:lnTo>
                    <a:pt x="24" y="184"/>
                  </a:lnTo>
                  <a:lnTo>
                    <a:pt x="48" y="216"/>
                  </a:lnTo>
                  <a:lnTo>
                    <a:pt x="48" y="20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5" name="Freeform 55">
              <a:extLst>
                <a:ext uri="{FF2B5EF4-FFF2-40B4-BE49-F238E27FC236}">
                  <a16:creationId xmlns:a16="http://schemas.microsoft.com/office/drawing/2014/main" id="{5B3694A7-65A1-7A93-F5F4-555740189BDB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7667626" y="4502151"/>
              <a:ext cx="120650" cy="147638"/>
            </a:xfrm>
            <a:custGeom>
              <a:avLst/>
              <a:gdLst>
                <a:gd name="T0" fmla="*/ 0 w 56"/>
                <a:gd name="T1" fmla="*/ 14764 h 80"/>
                <a:gd name="T2" fmla="*/ 0 w 56"/>
                <a:gd name="T3" fmla="*/ 0 h 80"/>
                <a:gd name="T4" fmla="*/ 17236 w 56"/>
                <a:gd name="T5" fmla="*/ 14764 h 80"/>
                <a:gd name="T6" fmla="*/ 17236 w 56"/>
                <a:gd name="T7" fmla="*/ 29528 h 80"/>
                <a:gd name="T8" fmla="*/ 34471 w 56"/>
                <a:gd name="T9" fmla="*/ 29528 h 80"/>
                <a:gd name="T10" fmla="*/ 51707 w 56"/>
                <a:gd name="T11" fmla="*/ 14764 h 80"/>
                <a:gd name="T12" fmla="*/ 86179 w 56"/>
                <a:gd name="T13" fmla="*/ 59055 h 80"/>
                <a:gd name="T14" fmla="*/ 86179 w 56"/>
                <a:gd name="T15" fmla="*/ 103347 h 80"/>
                <a:gd name="T16" fmla="*/ 120650 w 56"/>
                <a:gd name="T17" fmla="*/ 147638 h 80"/>
                <a:gd name="T18" fmla="*/ 86179 w 56"/>
                <a:gd name="T19" fmla="*/ 147638 h 80"/>
                <a:gd name="T20" fmla="*/ 34471 w 56"/>
                <a:gd name="T21" fmla="*/ 103347 h 80"/>
                <a:gd name="T22" fmla="*/ 0 w 56"/>
                <a:gd name="T23" fmla="*/ 73819 h 80"/>
                <a:gd name="T24" fmla="*/ 0 w 56"/>
                <a:gd name="T25" fmla="*/ 14764 h 8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6"/>
                <a:gd name="T40" fmla="*/ 0 h 80"/>
                <a:gd name="T41" fmla="*/ 56 w 56"/>
                <a:gd name="T42" fmla="*/ 80 h 8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6" h="80">
                  <a:moveTo>
                    <a:pt x="0" y="8"/>
                  </a:moveTo>
                  <a:lnTo>
                    <a:pt x="0" y="0"/>
                  </a:lnTo>
                  <a:lnTo>
                    <a:pt x="8" y="8"/>
                  </a:lnTo>
                  <a:lnTo>
                    <a:pt x="8" y="16"/>
                  </a:lnTo>
                  <a:lnTo>
                    <a:pt x="16" y="16"/>
                  </a:lnTo>
                  <a:lnTo>
                    <a:pt x="24" y="8"/>
                  </a:lnTo>
                  <a:lnTo>
                    <a:pt x="40" y="32"/>
                  </a:lnTo>
                  <a:lnTo>
                    <a:pt x="40" y="56"/>
                  </a:lnTo>
                  <a:lnTo>
                    <a:pt x="56" y="80"/>
                  </a:lnTo>
                  <a:lnTo>
                    <a:pt x="40" y="80"/>
                  </a:lnTo>
                  <a:lnTo>
                    <a:pt x="16" y="56"/>
                  </a:lnTo>
                  <a:lnTo>
                    <a:pt x="0" y="4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6" name="Freeform 56">
              <a:extLst>
                <a:ext uri="{FF2B5EF4-FFF2-40B4-BE49-F238E27FC236}">
                  <a16:creationId xmlns:a16="http://schemas.microsoft.com/office/drawing/2014/main" id="{4FC5B8EE-C341-3C0F-628E-7852DE8AE009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7667626" y="4044951"/>
              <a:ext cx="242888" cy="396875"/>
            </a:xfrm>
            <a:custGeom>
              <a:avLst/>
              <a:gdLst>
                <a:gd name="T0" fmla="*/ 0 w 112"/>
                <a:gd name="T1" fmla="*/ 14699 h 216"/>
                <a:gd name="T2" fmla="*/ 34698 w 112"/>
                <a:gd name="T3" fmla="*/ 58796 h 216"/>
                <a:gd name="T4" fmla="*/ 69397 w 112"/>
                <a:gd name="T5" fmla="*/ 73495 h 216"/>
                <a:gd name="T6" fmla="*/ 86746 w 112"/>
                <a:gd name="T7" fmla="*/ 88194 h 216"/>
                <a:gd name="T8" fmla="*/ 69397 w 112"/>
                <a:gd name="T9" fmla="*/ 102894 h 216"/>
                <a:gd name="T10" fmla="*/ 138793 w 112"/>
                <a:gd name="T11" fmla="*/ 161690 h 216"/>
                <a:gd name="T12" fmla="*/ 138793 w 112"/>
                <a:gd name="T13" fmla="*/ 176389 h 216"/>
                <a:gd name="T14" fmla="*/ 173491 w 112"/>
                <a:gd name="T15" fmla="*/ 205787 h 216"/>
                <a:gd name="T16" fmla="*/ 190841 w 112"/>
                <a:gd name="T17" fmla="*/ 235185 h 216"/>
                <a:gd name="T18" fmla="*/ 190841 w 112"/>
                <a:gd name="T19" fmla="*/ 293982 h 216"/>
                <a:gd name="T20" fmla="*/ 156142 w 112"/>
                <a:gd name="T21" fmla="*/ 323380 h 216"/>
                <a:gd name="T22" fmla="*/ 138793 w 112"/>
                <a:gd name="T23" fmla="*/ 338079 h 216"/>
                <a:gd name="T24" fmla="*/ 104095 w 112"/>
                <a:gd name="T25" fmla="*/ 352778 h 216"/>
                <a:gd name="T26" fmla="*/ 121444 w 112"/>
                <a:gd name="T27" fmla="*/ 367477 h 216"/>
                <a:gd name="T28" fmla="*/ 121444 w 112"/>
                <a:gd name="T29" fmla="*/ 396875 h 216"/>
                <a:gd name="T30" fmla="*/ 173491 w 112"/>
                <a:gd name="T31" fmla="*/ 382176 h 216"/>
                <a:gd name="T32" fmla="*/ 173491 w 112"/>
                <a:gd name="T33" fmla="*/ 352778 h 216"/>
                <a:gd name="T34" fmla="*/ 190841 w 112"/>
                <a:gd name="T35" fmla="*/ 352778 h 216"/>
                <a:gd name="T36" fmla="*/ 242888 w 112"/>
                <a:gd name="T37" fmla="*/ 323380 h 216"/>
                <a:gd name="T38" fmla="*/ 242888 w 112"/>
                <a:gd name="T39" fmla="*/ 264583 h 216"/>
                <a:gd name="T40" fmla="*/ 225539 w 112"/>
                <a:gd name="T41" fmla="*/ 220486 h 216"/>
                <a:gd name="T42" fmla="*/ 121444 w 112"/>
                <a:gd name="T43" fmla="*/ 132292 h 216"/>
                <a:gd name="T44" fmla="*/ 104095 w 112"/>
                <a:gd name="T45" fmla="*/ 117593 h 216"/>
                <a:gd name="T46" fmla="*/ 121444 w 112"/>
                <a:gd name="T47" fmla="*/ 88194 h 216"/>
                <a:gd name="T48" fmla="*/ 138793 w 112"/>
                <a:gd name="T49" fmla="*/ 58796 h 216"/>
                <a:gd name="T50" fmla="*/ 173491 w 112"/>
                <a:gd name="T51" fmla="*/ 44097 h 216"/>
                <a:gd name="T52" fmla="*/ 138793 w 112"/>
                <a:gd name="T53" fmla="*/ 29398 h 216"/>
                <a:gd name="T54" fmla="*/ 121444 w 112"/>
                <a:gd name="T55" fmla="*/ 14699 h 216"/>
                <a:gd name="T56" fmla="*/ 86746 w 112"/>
                <a:gd name="T57" fmla="*/ 0 h 216"/>
                <a:gd name="T58" fmla="*/ 17349 w 112"/>
                <a:gd name="T59" fmla="*/ 14699 h 216"/>
                <a:gd name="T60" fmla="*/ 0 w 112"/>
                <a:gd name="T61" fmla="*/ 14699 h 21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2"/>
                <a:gd name="T94" fmla="*/ 0 h 216"/>
                <a:gd name="T95" fmla="*/ 112 w 112"/>
                <a:gd name="T96" fmla="*/ 216 h 21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2" h="216">
                  <a:moveTo>
                    <a:pt x="0" y="8"/>
                  </a:moveTo>
                  <a:lnTo>
                    <a:pt x="16" y="32"/>
                  </a:lnTo>
                  <a:lnTo>
                    <a:pt x="32" y="40"/>
                  </a:lnTo>
                  <a:lnTo>
                    <a:pt x="40" y="48"/>
                  </a:lnTo>
                  <a:lnTo>
                    <a:pt x="32" y="56"/>
                  </a:lnTo>
                  <a:lnTo>
                    <a:pt x="64" y="88"/>
                  </a:lnTo>
                  <a:lnTo>
                    <a:pt x="64" y="96"/>
                  </a:lnTo>
                  <a:lnTo>
                    <a:pt x="80" y="112"/>
                  </a:lnTo>
                  <a:lnTo>
                    <a:pt x="88" y="128"/>
                  </a:lnTo>
                  <a:lnTo>
                    <a:pt x="88" y="160"/>
                  </a:lnTo>
                  <a:lnTo>
                    <a:pt x="72" y="176"/>
                  </a:lnTo>
                  <a:lnTo>
                    <a:pt x="64" y="184"/>
                  </a:lnTo>
                  <a:lnTo>
                    <a:pt x="48" y="192"/>
                  </a:lnTo>
                  <a:lnTo>
                    <a:pt x="56" y="200"/>
                  </a:lnTo>
                  <a:lnTo>
                    <a:pt x="56" y="216"/>
                  </a:lnTo>
                  <a:lnTo>
                    <a:pt x="80" y="208"/>
                  </a:lnTo>
                  <a:lnTo>
                    <a:pt x="80" y="192"/>
                  </a:lnTo>
                  <a:lnTo>
                    <a:pt x="88" y="192"/>
                  </a:lnTo>
                  <a:lnTo>
                    <a:pt x="112" y="176"/>
                  </a:lnTo>
                  <a:lnTo>
                    <a:pt x="112" y="144"/>
                  </a:lnTo>
                  <a:lnTo>
                    <a:pt x="104" y="120"/>
                  </a:lnTo>
                  <a:lnTo>
                    <a:pt x="56" y="72"/>
                  </a:lnTo>
                  <a:lnTo>
                    <a:pt x="48" y="64"/>
                  </a:lnTo>
                  <a:lnTo>
                    <a:pt x="56" y="48"/>
                  </a:lnTo>
                  <a:lnTo>
                    <a:pt x="64" y="32"/>
                  </a:lnTo>
                  <a:lnTo>
                    <a:pt x="80" y="24"/>
                  </a:lnTo>
                  <a:lnTo>
                    <a:pt x="64" y="16"/>
                  </a:lnTo>
                  <a:lnTo>
                    <a:pt x="56" y="8"/>
                  </a:lnTo>
                  <a:lnTo>
                    <a:pt x="40" y="0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7" name="Freeform 57">
              <a:extLst>
                <a:ext uri="{FF2B5EF4-FFF2-40B4-BE49-F238E27FC236}">
                  <a16:creationId xmlns:a16="http://schemas.microsoft.com/office/drawing/2014/main" id="{ACC761A2-0BB5-22CB-B7E2-2A9FA26E3DF4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7702551" y="4279901"/>
              <a:ext cx="155575" cy="119063"/>
            </a:xfrm>
            <a:custGeom>
              <a:avLst/>
              <a:gdLst>
                <a:gd name="T0" fmla="*/ 0 w 72"/>
                <a:gd name="T1" fmla="*/ 44649 h 64"/>
                <a:gd name="T2" fmla="*/ 17286 w 72"/>
                <a:gd name="T3" fmla="*/ 14883 h 64"/>
                <a:gd name="T4" fmla="*/ 86431 w 72"/>
                <a:gd name="T5" fmla="*/ 14883 h 64"/>
                <a:gd name="T6" fmla="*/ 103717 w 72"/>
                <a:gd name="T7" fmla="*/ 14883 h 64"/>
                <a:gd name="T8" fmla="*/ 121003 w 72"/>
                <a:gd name="T9" fmla="*/ 14883 h 64"/>
                <a:gd name="T10" fmla="*/ 155575 w 72"/>
                <a:gd name="T11" fmla="*/ 0 h 64"/>
                <a:gd name="T12" fmla="*/ 155575 w 72"/>
                <a:gd name="T13" fmla="*/ 59532 h 64"/>
                <a:gd name="T14" fmla="*/ 121003 w 72"/>
                <a:gd name="T15" fmla="*/ 89297 h 64"/>
                <a:gd name="T16" fmla="*/ 103717 w 72"/>
                <a:gd name="T17" fmla="*/ 104180 h 64"/>
                <a:gd name="T18" fmla="*/ 69144 w 72"/>
                <a:gd name="T19" fmla="*/ 119063 h 64"/>
                <a:gd name="T20" fmla="*/ 34572 w 72"/>
                <a:gd name="T21" fmla="*/ 104180 h 64"/>
                <a:gd name="T22" fmla="*/ 17286 w 72"/>
                <a:gd name="T23" fmla="*/ 74414 h 64"/>
                <a:gd name="T24" fmla="*/ 0 w 72"/>
                <a:gd name="T25" fmla="*/ 44649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2"/>
                <a:gd name="T40" fmla="*/ 0 h 64"/>
                <a:gd name="T41" fmla="*/ 72 w 72"/>
                <a:gd name="T42" fmla="*/ 64 h 6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2" h="64">
                  <a:moveTo>
                    <a:pt x="0" y="24"/>
                  </a:moveTo>
                  <a:lnTo>
                    <a:pt x="8" y="8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56" y="8"/>
                  </a:lnTo>
                  <a:lnTo>
                    <a:pt x="72" y="0"/>
                  </a:lnTo>
                  <a:lnTo>
                    <a:pt x="72" y="32"/>
                  </a:lnTo>
                  <a:lnTo>
                    <a:pt x="56" y="48"/>
                  </a:lnTo>
                  <a:lnTo>
                    <a:pt x="48" y="56"/>
                  </a:lnTo>
                  <a:lnTo>
                    <a:pt x="32" y="64"/>
                  </a:lnTo>
                  <a:lnTo>
                    <a:pt x="16" y="56"/>
                  </a:lnTo>
                  <a:lnTo>
                    <a:pt x="8" y="40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8" name="Freeform 58">
              <a:extLst>
                <a:ext uri="{FF2B5EF4-FFF2-40B4-BE49-F238E27FC236}">
                  <a16:creationId xmlns:a16="http://schemas.microsoft.com/office/drawing/2014/main" id="{1673628E-B328-4F01-0B92-D960D3340E52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7615238" y="4059238"/>
              <a:ext cx="242888" cy="236538"/>
            </a:xfrm>
            <a:custGeom>
              <a:avLst/>
              <a:gdLst>
                <a:gd name="T0" fmla="*/ 242888 w 112"/>
                <a:gd name="T1" fmla="*/ 221754 h 128"/>
                <a:gd name="T2" fmla="*/ 225539 w 112"/>
                <a:gd name="T3" fmla="*/ 192187 h 128"/>
                <a:gd name="T4" fmla="*/ 190841 w 112"/>
                <a:gd name="T5" fmla="*/ 162620 h 128"/>
                <a:gd name="T6" fmla="*/ 190841 w 112"/>
                <a:gd name="T7" fmla="*/ 147836 h 128"/>
                <a:gd name="T8" fmla="*/ 121444 w 112"/>
                <a:gd name="T9" fmla="*/ 88702 h 128"/>
                <a:gd name="T10" fmla="*/ 138793 w 112"/>
                <a:gd name="T11" fmla="*/ 73918 h 128"/>
                <a:gd name="T12" fmla="*/ 121444 w 112"/>
                <a:gd name="T13" fmla="*/ 59135 h 128"/>
                <a:gd name="T14" fmla="*/ 86746 w 112"/>
                <a:gd name="T15" fmla="*/ 44351 h 128"/>
                <a:gd name="T16" fmla="*/ 52047 w 112"/>
                <a:gd name="T17" fmla="*/ 0 h 128"/>
                <a:gd name="T18" fmla="*/ 34698 w 112"/>
                <a:gd name="T19" fmla="*/ 0 h 128"/>
                <a:gd name="T20" fmla="*/ 34698 w 112"/>
                <a:gd name="T21" fmla="*/ 29567 h 128"/>
                <a:gd name="T22" fmla="*/ 34698 w 112"/>
                <a:gd name="T23" fmla="*/ 44351 h 128"/>
                <a:gd name="T24" fmla="*/ 34698 w 112"/>
                <a:gd name="T25" fmla="*/ 29567 h 128"/>
                <a:gd name="T26" fmla="*/ 0 w 112"/>
                <a:gd name="T27" fmla="*/ 59135 h 128"/>
                <a:gd name="T28" fmla="*/ 17349 w 112"/>
                <a:gd name="T29" fmla="*/ 73918 h 128"/>
                <a:gd name="T30" fmla="*/ 34698 w 112"/>
                <a:gd name="T31" fmla="*/ 88702 h 128"/>
                <a:gd name="T32" fmla="*/ 34698 w 112"/>
                <a:gd name="T33" fmla="*/ 133053 h 128"/>
                <a:gd name="T34" fmla="*/ 69397 w 112"/>
                <a:gd name="T35" fmla="*/ 118269 h 128"/>
                <a:gd name="T36" fmla="*/ 86746 w 112"/>
                <a:gd name="T37" fmla="*/ 133053 h 128"/>
                <a:gd name="T38" fmla="*/ 104095 w 112"/>
                <a:gd name="T39" fmla="*/ 118269 h 128"/>
                <a:gd name="T40" fmla="*/ 138793 w 112"/>
                <a:gd name="T41" fmla="*/ 147836 h 128"/>
                <a:gd name="T42" fmla="*/ 156142 w 112"/>
                <a:gd name="T43" fmla="*/ 177403 h 128"/>
                <a:gd name="T44" fmla="*/ 173491 w 112"/>
                <a:gd name="T45" fmla="*/ 206971 h 128"/>
                <a:gd name="T46" fmla="*/ 173491 w 112"/>
                <a:gd name="T47" fmla="*/ 236538 h 128"/>
                <a:gd name="T48" fmla="*/ 190841 w 112"/>
                <a:gd name="T49" fmla="*/ 236538 h 128"/>
                <a:gd name="T50" fmla="*/ 208190 w 112"/>
                <a:gd name="T51" fmla="*/ 236538 h 128"/>
                <a:gd name="T52" fmla="*/ 242888 w 112"/>
                <a:gd name="T53" fmla="*/ 221754 h 12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12"/>
                <a:gd name="T82" fmla="*/ 0 h 128"/>
                <a:gd name="T83" fmla="*/ 112 w 112"/>
                <a:gd name="T84" fmla="*/ 128 h 12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12" h="128">
                  <a:moveTo>
                    <a:pt x="112" y="120"/>
                  </a:moveTo>
                  <a:lnTo>
                    <a:pt x="104" y="104"/>
                  </a:lnTo>
                  <a:lnTo>
                    <a:pt x="88" y="88"/>
                  </a:lnTo>
                  <a:lnTo>
                    <a:pt x="88" y="80"/>
                  </a:lnTo>
                  <a:lnTo>
                    <a:pt x="56" y="48"/>
                  </a:lnTo>
                  <a:lnTo>
                    <a:pt x="64" y="40"/>
                  </a:lnTo>
                  <a:lnTo>
                    <a:pt x="56" y="32"/>
                  </a:lnTo>
                  <a:lnTo>
                    <a:pt x="40" y="24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0" y="32"/>
                  </a:lnTo>
                  <a:lnTo>
                    <a:pt x="8" y="40"/>
                  </a:lnTo>
                  <a:lnTo>
                    <a:pt x="16" y="48"/>
                  </a:lnTo>
                  <a:lnTo>
                    <a:pt x="16" y="72"/>
                  </a:lnTo>
                  <a:lnTo>
                    <a:pt x="32" y="64"/>
                  </a:lnTo>
                  <a:lnTo>
                    <a:pt x="40" y="72"/>
                  </a:lnTo>
                  <a:lnTo>
                    <a:pt x="48" y="64"/>
                  </a:lnTo>
                  <a:lnTo>
                    <a:pt x="64" y="80"/>
                  </a:lnTo>
                  <a:lnTo>
                    <a:pt x="72" y="96"/>
                  </a:lnTo>
                  <a:lnTo>
                    <a:pt x="80" y="112"/>
                  </a:lnTo>
                  <a:lnTo>
                    <a:pt x="80" y="128"/>
                  </a:lnTo>
                  <a:lnTo>
                    <a:pt x="88" y="128"/>
                  </a:lnTo>
                  <a:lnTo>
                    <a:pt x="96" y="128"/>
                  </a:lnTo>
                  <a:lnTo>
                    <a:pt x="112" y="1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9" name="Freeform 59">
              <a:extLst>
                <a:ext uri="{FF2B5EF4-FFF2-40B4-BE49-F238E27FC236}">
                  <a16:creationId xmlns:a16="http://schemas.microsoft.com/office/drawing/2014/main" id="{9E19EF5F-CFD5-95DC-75C9-3F07C2DE2F91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6769101" y="3203576"/>
              <a:ext cx="1485900" cy="914400"/>
            </a:xfrm>
            <a:custGeom>
              <a:avLst/>
              <a:gdLst>
                <a:gd name="T0" fmla="*/ 293724 w 688"/>
                <a:gd name="T1" fmla="*/ 147484 h 496"/>
                <a:gd name="T2" fmla="*/ 380114 w 688"/>
                <a:gd name="T3" fmla="*/ 221226 h 496"/>
                <a:gd name="T4" fmla="*/ 673838 w 688"/>
                <a:gd name="T5" fmla="*/ 294968 h 496"/>
                <a:gd name="T6" fmla="*/ 915729 w 688"/>
                <a:gd name="T7" fmla="*/ 294968 h 496"/>
                <a:gd name="T8" fmla="*/ 950285 w 688"/>
                <a:gd name="T9" fmla="*/ 235974 h 496"/>
                <a:gd name="T10" fmla="*/ 1019396 w 688"/>
                <a:gd name="T11" fmla="*/ 206477 h 496"/>
                <a:gd name="T12" fmla="*/ 1071230 w 688"/>
                <a:gd name="T13" fmla="*/ 162232 h 496"/>
                <a:gd name="T14" fmla="*/ 984841 w 688"/>
                <a:gd name="T15" fmla="*/ 162232 h 496"/>
                <a:gd name="T16" fmla="*/ 1002119 w 688"/>
                <a:gd name="T17" fmla="*/ 103239 h 496"/>
                <a:gd name="T18" fmla="*/ 1036674 w 688"/>
                <a:gd name="T19" fmla="*/ 44245 h 496"/>
                <a:gd name="T20" fmla="*/ 1071230 w 688"/>
                <a:gd name="T21" fmla="*/ 0 h 496"/>
                <a:gd name="T22" fmla="*/ 1244009 w 688"/>
                <a:gd name="T23" fmla="*/ 103239 h 496"/>
                <a:gd name="T24" fmla="*/ 1382233 w 688"/>
                <a:gd name="T25" fmla="*/ 162232 h 496"/>
                <a:gd name="T26" fmla="*/ 1468622 w 688"/>
                <a:gd name="T27" fmla="*/ 162232 h 496"/>
                <a:gd name="T28" fmla="*/ 1451344 w 688"/>
                <a:gd name="T29" fmla="*/ 221226 h 496"/>
                <a:gd name="T30" fmla="*/ 1468622 w 688"/>
                <a:gd name="T31" fmla="*/ 294968 h 496"/>
                <a:gd name="T32" fmla="*/ 1416788 w 688"/>
                <a:gd name="T33" fmla="*/ 324465 h 496"/>
                <a:gd name="T34" fmla="*/ 1330399 w 688"/>
                <a:gd name="T35" fmla="*/ 383458 h 496"/>
                <a:gd name="T36" fmla="*/ 1278565 w 688"/>
                <a:gd name="T37" fmla="*/ 398206 h 496"/>
                <a:gd name="T38" fmla="*/ 1261287 w 688"/>
                <a:gd name="T39" fmla="*/ 353961 h 496"/>
                <a:gd name="T40" fmla="*/ 1209454 w 688"/>
                <a:gd name="T41" fmla="*/ 383458 h 496"/>
                <a:gd name="T42" fmla="*/ 1174898 w 688"/>
                <a:gd name="T43" fmla="*/ 412955 h 496"/>
                <a:gd name="T44" fmla="*/ 1278565 w 688"/>
                <a:gd name="T45" fmla="*/ 427703 h 496"/>
                <a:gd name="T46" fmla="*/ 1313121 w 688"/>
                <a:gd name="T47" fmla="*/ 457200 h 496"/>
                <a:gd name="T48" fmla="*/ 1313121 w 688"/>
                <a:gd name="T49" fmla="*/ 530942 h 496"/>
                <a:gd name="T50" fmla="*/ 1364955 w 688"/>
                <a:gd name="T51" fmla="*/ 604684 h 496"/>
                <a:gd name="T52" fmla="*/ 1399510 w 688"/>
                <a:gd name="T53" fmla="*/ 648929 h 496"/>
                <a:gd name="T54" fmla="*/ 1364955 w 688"/>
                <a:gd name="T55" fmla="*/ 737419 h 496"/>
                <a:gd name="T56" fmla="*/ 1330399 w 688"/>
                <a:gd name="T57" fmla="*/ 796413 h 496"/>
                <a:gd name="T58" fmla="*/ 1244009 w 688"/>
                <a:gd name="T59" fmla="*/ 855406 h 496"/>
                <a:gd name="T60" fmla="*/ 1226731 w 688"/>
                <a:gd name="T61" fmla="*/ 870155 h 496"/>
                <a:gd name="T62" fmla="*/ 1140342 w 688"/>
                <a:gd name="T63" fmla="*/ 899652 h 496"/>
                <a:gd name="T64" fmla="*/ 1123064 w 688"/>
                <a:gd name="T65" fmla="*/ 884903 h 496"/>
                <a:gd name="T66" fmla="*/ 1019396 w 688"/>
                <a:gd name="T67" fmla="*/ 855406 h 496"/>
                <a:gd name="T68" fmla="*/ 898451 w 688"/>
                <a:gd name="T69" fmla="*/ 855406 h 496"/>
                <a:gd name="T70" fmla="*/ 881173 w 688"/>
                <a:gd name="T71" fmla="*/ 899652 h 496"/>
                <a:gd name="T72" fmla="*/ 812062 w 688"/>
                <a:gd name="T73" fmla="*/ 870155 h 496"/>
                <a:gd name="T74" fmla="*/ 794784 w 688"/>
                <a:gd name="T75" fmla="*/ 811161 h 496"/>
                <a:gd name="T76" fmla="*/ 760228 w 688"/>
                <a:gd name="T77" fmla="*/ 707923 h 496"/>
                <a:gd name="T78" fmla="*/ 639283 w 688"/>
                <a:gd name="T79" fmla="*/ 663677 h 496"/>
                <a:gd name="T80" fmla="*/ 518337 w 688"/>
                <a:gd name="T81" fmla="*/ 693174 h 496"/>
                <a:gd name="T82" fmla="*/ 466503 w 688"/>
                <a:gd name="T83" fmla="*/ 707923 h 496"/>
                <a:gd name="T84" fmla="*/ 328280 w 688"/>
                <a:gd name="T85" fmla="*/ 678426 h 496"/>
                <a:gd name="T86" fmla="*/ 207335 w 688"/>
                <a:gd name="T87" fmla="*/ 619432 h 496"/>
                <a:gd name="T88" fmla="*/ 207335 w 688"/>
                <a:gd name="T89" fmla="*/ 575187 h 496"/>
                <a:gd name="T90" fmla="*/ 207335 w 688"/>
                <a:gd name="T91" fmla="*/ 501445 h 496"/>
                <a:gd name="T92" fmla="*/ 86390 w 688"/>
                <a:gd name="T93" fmla="*/ 486697 h 496"/>
                <a:gd name="T94" fmla="*/ 34556 w 688"/>
                <a:gd name="T95" fmla="*/ 442452 h 496"/>
                <a:gd name="T96" fmla="*/ 0 w 688"/>
                <a:gd name="T97" fmla="*/ 398206 h 496"/>
                <a:gd name="T98" fmla="*/ 17278 w 688"/>
                <a:gd name="T99" fmla="*/ 353961 h 496"/>
                <a:gd name="T100" fmla="*/ 103667 w 688"/>
                <a:gd name="T101" fmla="*/ 339213 h 496"/>
                <a:gd name="T102" fmla="*/ 138223 w 688"/>
                <a:gd name="T103" fmla="*/ 280219 h 496"/>
                <a:gd name="T104" fmla="*/ 155501 w 688"/>
                <a:gd name="T105" fmla="*/ 176981 h 496"/>
                <a:gd name="T106" fmla="*/ 224613 w 688"/>
                <a:gd name="T107" fmla="*/ 147484 h 49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88"/>
                <a:gd name="T163" fmla="*/ 0 h 496"/>
                <a:gd name="T164" fmla="*/ 688 w 688"/>
                <a:gd name="T165" fmla="*/ 496 h 49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88" h="496">
                  <a:moveTo>
                    <a:pt x="112" y="72"/>
                  </a:moveTo>
                  <a:lnTo>
                    <a:pt x="120" y="64"/>
                  </a:lnTo>
                  <a:lnTo>
                    <a:pt x="136" y="80"/>
                  </a:lnTo>
                  <a:lnTo>
                    <a:pt x="152" y="88"/>
                  </a:lnTo>
                  <a:lnTo>
                    <a:pt x="168" y="96"/>
                  </a:lnTo>
                  <a:lnTo>
                    <a:pt x="176" y="120"/>
                  </a:lnTo>
                  <a:lnTo>
                    <a:pt x="232" y="136"/>
                  </a:lnTo>
                  <a:lnTo>
                    <a:pt x="264" y="160"/>
                  </a:lnTo>
                  <a:lnTo>
                    <a:pt x="312" y="160"/>
                  </a:lnTo>
                  <a:lnTo>
                    <a:pt x="368" y="176"/>
                  </a:lnTo>
                  <a:lnTo>
                    <a:pt x="400" y="168"/>
                  </a:lnTo>
                  <a:lnTo>
                    <a:pt x="424" y="160"/>
                  </a:lnTo>
                  <a:lnTo>
                    <a:pt x="440" y="144"/>
                  </a:lnTo>
                  <a:lnTo>
                    <a:pt x="432" y="136"/>
                  </a:lnTo>
                  <a:lnTo>
                    <a:pt x="440" y="128"/>
                  </a:lnTo>
                  <a:lnTo>
                    <a:pt x="456" y="128"/>
                  </a:lnTo>
                  <a:lnTo>
                    <a:pt x="464" y="120"/>
                  </a:lnTo>
                  <a:lnTo>
                    <a:pt x="472" y="112"/>
                  </a:lnTo>
                  <a:lnTo>
                    <a:pt x="480" y="104"/>
                  </a:lnTo>
                  <a:lnTo>
                    <a:pt x="504" y="104"/>
                  </a:lnTo>
                  <a:lnTo>
                    <a:pt x="496" y="88"/>
                  </a:lnTo>
                  <a:lnTo>
                    <a:pt x="488" y="80"/>
                  </a:lnTo>
                  <a:lnTo>
                    <a:pt x="472" y="88"/>
                  </a:lnTo>
                  <a:lnTo>
                    <a:pt x="456" y="88"/>
                  </a:lnTo>
                  <a:lnTo>
                    <a:pt x="440" y="64"/>
                  </a:lnTo>
                  <a:lnTo>
                    <a:pt x="448" y="56"/>
                  </a:lnTo>
                  <a:lnTo>
                    <a:pt x="464" y="56"/>
                  </a:lnTo>
                  <a:lnTo>
                    <a:pt x="480" y="48"/>
                  </a:lnTo>
                  <a:lnTo>
                    <a:pt x="472" y="32"/>
                  </a:lnTo>
                  <a:lnTo>
                    <a:pt x="480" y="24"/>
                  </a:lnTo>
                  <a:lnTo>
                    <a:pt x="464" y="16"/>
                  </a:lnTo>
                  <a:lnTo>
                    <a:pt x="472" y="8"/>
                  </a:lnTo>
                  <a:lnTo>
                    <a:pt x="496" y="0"/>
                  </a:lnTo>
                  <a:lnTo>
                    <a:pt x="528" y="8"/>
                  </a:lnTo>
                  <a:lnTo>
                    <a:pt x="560" y="40"/>
                  </a:lnTo>
                  <a:lnTo>
                    <a:pt x="576" y="56"/>
                  </a:lnTo>
                  <a:lnTo>
                    <a:pt x="600" y="64"/>
                  </a:lnTo>
                  <a:lnTo>
                    <a:pt x="624" y="72"/>
                  </a:lnTo>
                  <a:lnTo>
                    <a:pt x="640" y="88"/>
                  </a:lnTo>
                  <a:lnTo>
                    <a:pt x="648" y="88"/>
                  </a:lnTo>
                  <a:lnTo>
                    <a:pt x="672" y="72"/>
                  </a:lnTo>
                  <a:lnTo>
                    <a:pt x="680" y="88"/>
                  </a:lnTo>
                  <a:lnTo>
                    <a:pt x="680" y="96"/>
                  </a:lnTo>
                  <a:lnTo>
                    <a:pt x="688" y="128"/>
                  </a:lnTo>
                  <a:lnTo>
                    <a:pt x="672" y="120"/>
                  </a:lnTo>
                  <a:lnTo>
                    <a:pt x="664" y="128"/>
                  </a:lnTo>
                  <a:lnTo>
                    <a:pt x="680" y="152"/>
                  </a:lnTo>
                  <a:lnTo>
                    <a:pt x="680" y="160"/>
                  </a:lnTo>
                  <a:lnTo>
                    <a:pt x="664" y="160"/>
                  </a:lnTo>
                  <a:lnTo>
                    <a:pt x="664" y="168"/>
                  </a:lnTo>
                  <a:lnTo>
                    <a:pt x="656" y="176"/>
                  </a:lnTo>
                  <a:lnTo>
                    <a:pt x="656" y="184"/>
                  </a:lnTo>
                  <a:lnTo>
                    <a:pt x="640" y="176"/>
                  </a:lnTo>
                  <a:lnTo>
                    <a:pt x="616" y="208"/>
                  </a:lnTo>
                  <a:lnTo>
                    <a:pt x="608" y="208"/>
                  </a:lnTo>
                  <a:lnTo>
                    <a:pt x="592" y="224"/>
                  </a:lnTo>
                  <a:lnTo>
                    <a:pt x="592" y="216"/>
                  </a:lnTo>
                  <a:lnTo>
                    <a:pt x="584" y="208"/>
                  </a:lnTo>
                  <a:lnTo>
                    <a:pt x="592" y="192"/>
                  </a:lnTo>
                  <a:lnTo>
                    <a:pt x="584" y="192"/>
                  </a:lnTo>
                  <a:lnTo>
                    <a:pt x="576" y="184"/>
                  </a:lnTo>
                  <a:lnTo>
                    <a:pt x="568" y="200"/>
                  </a:lnTo>
                  <a:lnTo>
                    <a:pt x="560" y="208"/>
                  </a:lnTo>
                  <a:lnTo>
                    <a:pt x="560" y="216"/>
                  </a:lnTo>
                  <a:lnTo>
                    <a:pt x="544" y="216"/>
                  </a:lnTo>
                  <a:lnTo>
                    <a:pt x="544" y="224"/>
                  </a:lnTo>
                  <a:lnTo>
                    <a:pt x="576" y="248"/>
                  </a:lnTo>
                  <a:lnTo>
                    <a:pt x="584" y="248"/>
                  </a:lnTo>
                  <a:lnTo>
                    <a:pt x="592" y="232"/>
                  </a:lnTo>
                  <a:lnTo>
                    <a:pt x="616" y="240"/>
                  </a:lnTo>
                  <a:lnTo>
                    <a:pt x="616" y="248"/>
                  </a:lnTo>
                  <a:lnTo>
                    <a:pt x="608" y="248"/>
                  </a:lnTo>
                  <a:lnTo>
                    <a:pt x="600" y="256"/>
                  </a:lnTo>
                  <a:lnTo>
                    <a:pt x="584" y="280"/>
                  </a:lnTo>
                  <a:lnTo>
                    <a:pt x="608" y="288"/>
                  </a:lnTo>
                  <a:lnTo>
                    <a:pt x="624" y="312"/>
                  </a:lnTo>
                  <a:lnTo>
                    <a:pt x="640" y="328"/>
                  </a:lnTo>
                  <a:lnTo>
                    <a:pt x="632" y="328"/>
                  </a:lnTo>
                  <a:lnTo>
                    <a:pt x="640" y="336"/>
                  </a:lnTo>
                  <a:lnTo>
                    <a:pt x="624" y="344"/>
                  </a:lnTo>
                  <a:lnTo>
                    <a:pt x="648" y="352"/>
                  </a:lnTo>
                  <a:lnTo>
                    <a:pt x="648" y="376"/>
                  </a:lnTo>
                  <a:lnTo>
                    <a:pt x="640" y="384"/>
                  </a:lnTo>
                  <a:lnTo>
                    <a:pt x="632" y="400"/>
                  </a:lnTo>
                  <a:lnTo>
                    <a:pt x="632" y="416"/>
                  </a:lnTo>
                  <a:lnTo>
                    <a:pt x="624" y="432"/>
                  </a:lnTo>
                  <a:lnTo>
                    <a:pt x="616" y="432"/>
                  </a:lnTo>
                  <a:lnTo>
                    <a:pt x="616" y="440"/>
                  </a:lnTo>
                  <a:lnTo>
                    <a:pt x="600" y="456"/>
                  </a:lnTo>
                  <a:lnTo>
                    <a:pt x="576" y="464"/>
                  </a:lnTo>
                  <a:lnTo>
                    <a:pt x="576" y="472"/>
                  </a:lnTo>
                  <a:lnTo>
                    <a:pt x="568" y="464"/>
                  </a:lnTo>
                  <a:lnTo>
                    <a:pt x="568" y="472"/>
                  </a:lnTo>
                  <a:lnTo>
                    <a:pt x="560" y="464"/>
                  </a:lnTo>
                  <a:lnTo>
                    <a:pt x="560" y="472"/>
                  </a:lnTo>
                  <a:lnTo>
                    <a:pt x="528" y="488"/>
                  </a:lnTo>
                  <a:lnTo>
                    <a:pt x="528" y="496"/>
                  </a:lnTo>
                  <a:lnTo>
                    <a:pt x="520" y="496"/>
                  </a:lnTo>
                  <a:lnTo>
                    <a:pt x="520" y="480"/>
                  </a:lnTo>
                  <a:lnTo>
                    <a:pt x="496" y="480"/>
                  </a:lnTo>
                  <a:lnTo>
                    <a:pt x="480" y="472"/>
                  </a:lnTo>
                  <a:lnTo>
                    <a:pt x="472" y="464"/>
                  </a:lnTo>
                  <a:lnTo>
                    <a:pt x="456" y="456"/>
                  </a:lnTo>
                  <a:lnTo>
                    <a:pt x="424" y="464"/>
                  </a:lnTo>
                  <a:lnTo>
                    <a:pt x="416" y="464"/>
                  </a:lnTo>
                  <a:lnTo>
                    <a:pt x="408" y="464"/>
                  </a:lnTo>
                  <a:lnTo>
                    <a:pt x="408" y="480"/>
                  </a:lnTo>
                  <a:lnTo>
                    <a:pt x="408" y="488"/>
                  </a:lnTo>
                  <a:lnTo>
                    <a:pt x="408" y="480"/>
                  </a:lnTo>
                  <a:lnTo>
                    <a:pt x="392" y="480"/>
                  </a:lnTo>
                  <a:lnTo>
                    <a:pt x="376" y="472"/>
                  </a:lnTo>
                  <a:lnTo>
                    <a:pt x="376" y="456"/>
                  </a:lnTo>
                  <a:lnTo>
                    <a:pt x="368" y="456"/>
                  </a:lnTo>
                  <a:lnTo>
                    <a:pt x="368" y="440"/>
                  </a:lnTo>
                  <a:lnTo>
                    <a:pt x="352" y="448"/>
                  </a:lnTo>
                  <a:lnTo>
                    <a:pt x="360" y="400"/>
                  </a:lnTo>
                  <a:lnTo>
                    <a:pt x="352" y="384"/>
                  </a:lnTo>
                  <a:lnTo>
                    <a:pt x="336" y="384"/>
                  </a:lnTo>
                  <a:lnTo>
                    <a:pt x="312" y="360"/>
                  </a:lnTo>
                  <a:lnTo>
                    <a:pt x="296" y="360"/>
                  </a:lnTo>
                  <a:lnTo>
                    <a:pt x="280" y="376"/>
                  </a:lnTo>
                  <a:lnTo>
                    <a:pt x="264" y="384"/>
                  </a:lnTo>
                  <a:lnTo>
                    <a:pt x="240" y="376"/>
                  </a:lnTo>
                  <a:lnTo>
                    <a:pt x="232" y="392"/>
                  </a:lnTo>
                  <a:lnTo>
                    <a:pt x="224" y="384"/>
                  </a:lnTo>
                  <a:lnTo>
                    <a:pt x="216" y="384"/>
                  </a:lnTo>
                  <a:lnTo>
                    <a:pt x="192" y="384"/>
                  </a:lnTo>
                  <a:lnTo>
                    <a:pt x="160" y="360"/>
                  </a:lnTo>
                  <a:lnTo>
                    <a:pt x="152" y="368"/>
                  </a:lnTo>
                  <a:lnTo>
                    <a:pt x="136" y="352"/>
                  </a:lnTo>
                  <a:lnTo>
                    <a:pt x="120" y="352"/>
                  </a:lnTo>
                  <a:lnTo>
                    <a:pt x="96" y="336"/>
                  </a:lnTo>
                  <a:lnTo>
                    <a:pt x="80" y="320"/>
                  </a:lnTo>
                  <a:lnTo>
                    <a:pt x="80" y="312"/>
                  </a:lnTo>
                  <a:lnTo>
                    <a:pt x="96" y="312"/>
                  </a:lnTo>
                  <a:lnTo>
                    <a:pt x="88" y="296"/>
                  </a:lnTo>
                  <a:lnTo>
                    <a:pt x="96" y="280"/>
                  </a:lnTo>
                  <a:lnTo>
                    <a:pt x="96" y="272"/>
                  </a:lnTo>
                  <a:lnTo>
                    <a:pt x="80" y="264"/>
                  </a:lnTo>
                  <a:lnTo>
                    <a:pt x="64" y="272"/>
                  </a:lnTo>
                  <a:lnTo>
                    <a:pt x="40" y="264"/>
                  </a:lnTo>
                  <a:lnTo>
                    <a:pt x="32" y="248"/>
                  </a:lnTo>
                  <a:lnTo>
                    <a:pt x="16" y="248"/>
                  </a:lnTo>
                  <a:lnTo>
                    <a:pt x="16" y="240"/>
                  </a:lnTo>
                  <a:lnTo>
                    <a:pt x="16" y="224"/>
                  </a:lnTo>
                  <a:lnTo>
                    <a:pt x="8" y="224"/>
                  </a:lnTo>
                  <a:lnTo>
                    <a:pt x="0" y="216"/>
                  </a:lnTo>
                  <a:lnTo>
                    <a:pt x="0" y="208"/>
                  </a:lnTo>
                  <a:lnTo>
                    <a:pt x="0" y="200"/>
                  </a:lnTo>
                  <a:lnTo>
                    <a:pt x="8" y="192"/>
                  </a:lnTo>
                  <a:lnTo>
                    <a:pt x="32" y="192"/>
                  </a:lnTo>
                  <a:lnTo>
                    <a:pt x="32" y="184"/>
                  </a:lnTo>
                  <a:lnTo>
                    <a:pt x="48" y="184"/>
                  </a:lnTo>
                  <a:lnTo>
                    <a:pt x="64" y="176"/>
                  </a:lnTo>
                  <a:lnTo>
                    <a:pt x="64" y="168"/>
                  </a:lnTo>
                  <a:lnTo>
                    <a:pt x="64" y="152"/>
                  </a:lnTo>
                  <a:lnTo>
                    <a:pt x="56" y="128"/>
                  </a:lnTo>
                  <a:lnTo>
                    <a:pt x="72" y="120"/>
                  </a:lnTo>
                  <a:lnTo>
                    <a:pt x="72" y="96"/>
                  </a:lnTo>
                  <a:lnTo>
                    <a:pt x="96" y="96"/>
                  </a:lnTo>
                  <a:lnTo>
                    <a:pt x="104" y="96"/>
                  </a:lnTo>
                  <a:lnTo>
                    <a:pt x="104" y="80"/>
                  </a:lnTo>
                  <a:lnTo>
                    <a:pt x="112" y="72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0" name="Freeform 60">
              <a:extLst>
                <a:ext uri="{FF2B5EF4-FFF2-40B4-BE49-F238E27FC236}">
                  <a16:creationId xmlns:a16="http://schemas.microsoft.com/office/drawing/2014/main" id="{CE38B429-8F6B-4850-6151-E0D2184A93CD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7253288" y="3956051"/>
              <a:ext cx="138113" cy="147638"/>
            </a:xfrm>
            <a:custGeom>
              <a:avLst/>
              <a:gdLst>
                <a:gd name="T0" fmla="*/ 17264 w 64"/>
                <a:gd name="T1" fmla="*/ 59055 h 80"/>
                <a:gd name="T2" fmla="*/ 0 w 64"/>
                <a:gd name="T3" fmla="*/ 44291 h 80"/>
                <a:gd name="T4" fmla="*/ 17264 w 64"/>
                <a:gd name="T5" fmla="*/ 29528 h 80"/>
                <a:gd name="T6" fmla="*/ 0 w 64"/>
                <a:gd name="T7" fmla="*/ 14764 h 80"/>
                <a:gd name="T8" fmla="*/ 0 w 64"/>
                <a:gd name="T9" fmla="*/ 0 h 80"/>
                <a:gd name="T10" fmla="*/ 17264 w 64"/>
                <a:gd name="T11" fmla="*/ 0 h 80"/>
                <a:gd name="T12" fmla="*/ 34528 w 64"/>
                <a:gd name="T13" fmla="*/ 0 h 80"/>
                <a:gd name="T14" fmla="*/ 51792 w 64"/>
                <a:gd name="T15" fmla="*/ 29528 h 80"/>
                <a:gd name="T16" fmla="*/ 120849 w 64"/>
                <a:gd name="T17" fmla="*/ 29528 h 80"/>
                <a:gd name="T18" fmla="*/ 86321 w 64"/>
                <a:gd name="T19" fmla="*/ 59055 h 80"/>
                <a:gd name="T20" fmla="*/ 86321 w 64"/>
                <a:gd name="T21" fmla="*/ 73819 h 80"/>
                <a:gd name="T22" fmla="*/ 120849 w 64"/>
                <a:gd name="T23" fmla="*/ 88583 h 80"/>
                <a:gd name="T24" fmla="*/ 120849 w 64"/>
                <a:gd name="T25" fmla="*/ 73819 h 80"/>
                <a:gd name="T26" fmla="*/ 138113 w 64"/>
                <a:gd name="T27" fmla="*/ 118110 h 80"/>
                <a:gd name="T28" fmla="*/ 138113 w 64"/>
                <a:gd name="T29" fmla="*/ 147638 h 80"/>
                <a:gd name="T30" fmla="*/ 103585 w 64"/>
                <a:gd name="T31" fmla="*/ 103347 h 80"/>
                <a:gd name="T32" fmla="*/ 86321 w 64"/>
                <a:gd name="T33" fmla="*/ 132874 h 80"/>
                <a:gd name="T34" fmla="*/ 34528 w 64"/>
                <a:gd name="T35" fmla="*/ 132874 h 80"/>
                <a:gd name="T36" fmla="*/ 17264 w 64"/>
                <a:gd name="T37" fmla="*/ 59055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4"/>
                <a:gd name="T58" fmla="*/ 0 h 80"/>
                <a:gd name="T59" fmla="*/ 64 w 64"/>
                <a:gd name="T60" fmla="*/ 80 h 8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4" h="80">
                  <a:moveTo>
                    <a:pt x="8" y="32"/>
                  </a:moveTo>
                  <a:lnTo>
                    <a:pt x="0" y="24"/>
                  </a:lnTo>
                  <a:lnTo>
                    <a:pt x="8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24" y="16"/>
                  </a:lnTo>
                  <a:lnTo>
                    <a:pt x="56" y="16"/>
                  </a:lnTo>
                  <a:lnTo>
                    <a:pt x="40" y="32"/>
                  </a:lnTo>
                  <a:lnTo>
                    <a:pt x="40" y="40"/>
                  </a:lnTo>
                  <a:lnTo>
                    <a:pt x="56" y="48"/>
                  </a:lnTo>
                  <a:lnTo>
                    <a:pt x="56" y="40"/>
                  </a:lnTo>
                  <a:lnTo>
                    <a:pt x="64" y="64"/>
                  </a:lnTo>
                  <a:lnTo>
                    <a:pt x="64" y="80"/>
                  </a:lnTo>
                  <a:lnTo>
                    <a:pt x="48" y="56"/>
                  </a:lnTo>
                  <a:lnTo>
                    <a:pt x="40" y="72"/>
                  </a:lnTo>
                  <a:lnTo>
                    <a:pt x="16" y="7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1" name="Freeform 61">
              <a:extLst>
                <a:ext uri="{FF2B5EF4-FFF2-40B4-BE49-F238E27FC236}">
                  <a16:creationId xmlns:a16="http://schemas.microsoft.com/office/drawing/2014/main" id="{40A2C289-8C64-A268-F2F3-CD3B60856138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7270751" y="3897313"/>
              <a:ext cx="85725" cy="42863"/>
            </a:xfrm>
            <a:custGeom>
              <a:avLst/>
              <a:gdLst>
                <a:gd name="T0" fmla="*/ 68580 w 40"/>
                <a:gd name="T1" fmla="*/ 14288 h 24"/>
                <a:gd name="T2" fmla="*/ 17145 w 40"/>
                <a:gd name="T3" fmla="*/ 0 h 24"/>
                <a:gd name="T4" fmla="*/ 0 w 40"/>
                <a:gd name="T5" fmla="*/ 28575 h 24"/>
                <a:gd name="T6" fmla="*/ 0 w 40"/>
                <a:gd name="T7" fmla="*/ 42863 h 24"/>
                <a:gd name="T8" fmla="*/ 17145 w 40"/>
                <a:gd name="T9" fmla="*/ 42863 h 24"/>
                <a:gd name="T10" fmla="*/ 85725 w 40"/>
                <a:gd name="T11" fmla="*/ 42863 h 24"/>
                <a:gd name="T12" fmla="*/ 85725 w 40"/>
                <a:gd name="T13" fmla="*/ 28575 h 24"/>
                <a:gd name="T14" fmla="*/ 68580 w 40"/>
                <a:gd name="T15" fmla="*/ 14288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0"/>
                <a:gd name="T25" fmla="*/ 0 h 24"/>
                <a:gd name="T26" fmla="*/ 40 w 40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0" h="24">
                  <a:moveTo>
                    <a:pt x="32" y="8"/>
                  </a:moveTo>
                  <a:lnTo>
                    <a:pt x="8" y="0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8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32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2" name="Freeform 62">
              <a:extLst>
                <a:ext uri="{FF2B5EF4-FFF2-40B4-BE49-F238E27FC236}">
                  <a16:creationId xmlns:a16="http://schemas.microsoft.com/office/drawing/2014/main" id="{85DCF24D-A015-AA24-9FC1-E0870E3FC15A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6699251" y="3689351"/>
              <a:ext cx="795338" cy="782638"/>
            </a:xfrm>
            <a:custGeom>
              <a:avLst/>
              <a:gdLst>
                <a:gd name="T0" fmla="*/ 570569 w 368"/>
                <a:gd name="T1" fmla="*/ 236268 h 424"/>
                <a:gd name="T2" fmla="*/ 587859 w 368"/>
                <a:gd name="T3" fmla="*/ 251035 h 424"/>
                <a:gd name="T4" fmla="*/ 657018 w 368"/>
                <a:gd name="T5" fmla="*/ 236268 h 424"/>
                <a:gd name="T6" fmla="*/ 674308 w 368"/>
                <a:gd name="T7" fmla="*/ 206735 h 424"/>
                <a:gd name="T8" fmla="*/ 743468 w 368"/>
                <a:gd name="T9" fmla="*/ 177201 h 424"/>
                <a:gd name="T10" fmla="*/ 795338 w 368"/>
                <a:gd name="T11" fmla="*/ 236268 h 424"/>
                <a:gd name="T12" fmla="*/ 743468 w 368"/>
                <a:gd name="T13" fmla="*/ 265802 h 424"/>
                <a:gd name="T14" fmla="*/ 708888 w 368"/>
                <a:gd name="T15" fmla="*/ 339635 h 424"/>
                <a:gd name="T16" fmla="*/ 691598 w 368"/>
                <a:gd name="T17" fmla="*/ 383936 h 424"/>
                <a:gd name="T18" fmla="*/ 674308 w 368"/>
                <a:gd name="T19" fmla="*/ 354402 h 424"/>
                <a:gd name="T20" fmla="*/ 639728 w 368"/>
                <a:gd name="T21" fmla="*/ 324869 h 424"/>
                <a:gd name="T22" fmla="*/ 605149 w 368"/>
                <a:gd name="T23" fmla="*/ 295335 h 424"/>
                <a:gd name="T24" fmla="*/ 570569 w 368"/>
                <a:gd name="T25" fmla="*/ 265802 h 424"/>
                <a:gd name="T26" fmla="*/ 553279 w 368"/>
                <a:gd name="T27" fmla="*/ 280568 h 424"/>
                <a:gd name="T28" fmla="*/ 553279 w 368"/>
                <a:gd name="T29" fmla="*/ 310102 h 424"/>
                <a:gd name="T30" fmla="*/ 587859 w 368"/>
                <a:gd name="T31" fmla="*/ 398702 h 424"/>
                <a:gd name="T32" fmla="*/ 570569 w 368"/>
                <a:gd name="T33" fmla="*/ 398702 h 424"/>
                <a:gd name="T34" fmla="*/ 535989 w 368"/>
                <a:gd name="T35" fmla="*/ 443003 h 424"/>
                <a:gd name="T36" fmla="*/ 484119 w 368"/>
                <a:gd name="T37" fmla="*/ 487303 h 424"/>
                <a:gd name="T38" fmla="*/ 414959 w 368"/>
                <a:gd name="T39" fmla="*/ 546370 h 424"/>
                <a:gd name="T40" fmla="*/ 397669 w 368"/>
                <a:gd name="T41" fmla="*/ 561137 h 424"/>
                <a:gd name="T42" fmla="*/ 363089 w 368"/>
                <a:gd name="T43" fmla="*/ 575903 h 424"/>
                <a:gd name="T44" fmla="*/ 363089 w 368"/>
                <a:gd name="T45" fmla="*/ 679271 h 424"/>
                <a:gd name="T46" fmla="*/ 345799 w 368"/>
                <a:gd name="T47" fmla="*/ 738338 h 424"/>
                <a:gd name="T48" fmla="*/ 311219 w 368"/>
                <a:gd name="T49" fmla="*/ 782638 h 424"/>
                <a:gd name="T50" fmla="*/ 207479 w 368"/>
                <a:gd name="T51" fmla="*/ 590670 h 424"/>
                <a:gd name="T52" fmla="*/ 138320 w 368"/>
                <a:gd name="T53" fmla="*/ 383936 h 424"/>
                <a:gd name="T54" fmla="*/ 121030 w 368"/>
                <a:gd name="T55" fmla="*/ 413469 h 424"/>
                <a:gd name="T56" fmla="*/ 86450 w 368"/>
                <a:gd name="T57" fmla="*/ 428236 h 424"/>
                <a:gd name="T58" fmla="*/ 69160 w 368"/>
                <a:gd name="T59" fmla="*/ 369169 h 424"/>
                <a:gd name="T60" fmla="*/ 34580 w 368"/>
                <a:gd name="T61" fmla="*/ 369169 h 424"/>
                <a:gd name="T62" fmla="*/ 17290 w 368"/>
                <a:gd name="T63" fmla="*/ 324869 h 424"/>
                <a:gd name="T64" fmla="*/ 69160 w 368"/>
                <a:gd name="T65" fmla="*/ 310102 h 424"/>
                <a:gd name="T66" fmla="*/ 51870 w 368"/>
                <a:gd name="T67" fmla="*/ 280568 h 424"/>
                <a:gd name="T68" fmla="*/ 34580 w 368"/>
                <a:gd name="T69" fmla="*/ 251035 h 424"/>
                <a:gd name="T70" fmla="*/ 51870 w 368"/>
                <a:gd name="T71" fmla="*/ 221501 h 424"/>
                <a:gd name="T72" fmla="*/ 86450 w 368"/>
                <a:gd name="T73" fmla="*/ 221501 h 424"/>
                <a:gd name="T74" fmla="*/ 138320 w 368"/>
                <a:gd name="T75" fmla="*/ 103367 h 424"/>
                <a:gd name="T76" fmla="*/ 121030 w 368"/>
                <a:gd name="T77" fmla="*/ 73834 h 424"/>
                <a:gd name="T78" fmla="*/ 103740 w 368"/>
                <a:gd name="T79" fmla="*/ 29534 h 424"/>
                <a:gd name="T80" fmla="*/ 190190 w 368"/>
                <a:gd name="T81" fmla="*/ 29534 h 424"/>
                <a:gd name="T82" fmla="*/ 242059 w 368"/>
                <a:gd name="T83" fmla="*/ 0 h 424"/>
                <a:gd name="T84" fmla="*/ 276639 w 368"/>
                <a:gd name="T85" fmla="*/ 29534 h 424"/>
                <a:gd name="T86" fmla="*/ 276639 w 368"/>
                <a:gd name="T87" fmla="*/ 88601 h 424"/>
                <a:gd name="T88" fmla="*/ 242059 w 368"/>
                <a:gd name="T89" fmla="*/ 103367 h 424"/>
                <a:gd name="T90" fmla="*/ 328509 w 368"/>
                <a:gd name="T91" fmla="*/ 162434 h 424"/>
                <a:gd name="T92" fmla="*/ 397669 w 368"/>
                <a:gd name="T93" fmla="*/ 236268 h 424"/>
                <a:gd name="T94" fmla="*/ 466829 w 368"/>
                <a:gd name="T95" fmla="*/ 251035 h 424"/>
                <a:gd name="T96" fmla="*/ 553279 w 368"/>
                <a:gd name="T97" fmla="*/ 265802 h 424"/>
                <a:gd name="T98" fmla="*/ 535989 w 368"/>
                <a:gd name="T99" fmla="*/ 221501 h 42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68"/>
                <a:gd name="T151" fmla="*/ 0 h 424"/>
                <a:gd name="T152" fmla="*/ 368 w 368"/>
                <a:gd name="T153" fmla="*/ 424 h 42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68" h="424">
                  <a:moveTo>
                    <a:pt x="256" y="120"/>
                  </a:moveTo>
                  <a:lnTo>
                    <a:pt x="264" y="128"/>
                  </a:lnTo>
                  <a:lnTo>
                    <a:pt x="264" y="136"/>
                  </a:lnTo>
                  <a:lnTo>
                    <a:pt x="272" y="136"/>
                  </a:lnTo>
                  <a:lnTo>
                    <a:pt x="304" y="136"/>
                  </a:lnTo>
                  <a:lnTo>
                    <a:pt x="304" y="128"/>
                  </a:lnTo>
                  <a:lnTo>
                    <a:pt x="296" y="120"/>
                  </a:lnTo>
                  <a:lnTo>
                    <a:pt x="312" y="112"/>
                  </a:lnTo>
                  <a:lnTo>
                    <a:pt x="328" y="96"/>
                  </a:lnTo>
                  <a:lnTo>
                    <a:pt x="344" y="96"/>
                  </a:lnTo>
                  <a:lnTo>
                    <a:pt x="368" y="120"/>
                  </a:lnTo>
                  <a:lnTo>
                    <a:pt x="368" y="128"/>
                  </a:lnTo>
                  <a:lnTo>
                    <a:pt x="360" y="128"/>
                  </a:lnTo>
                  <a:lnTo>
                    <a:pt x="344" y="144"/>
                  </a:lnTo>
                  <a:lnTo>
                    <a:pt x="336" y="184"/>
                  </a:lnTo>
                  <a:lnTo>
                    <a:pt x="328" y="184"/>
                  </a:lnTo>
                  <a:lnTo>
                    <a:pt x="328" y="208"/>
                  </a:lnTo>
                  <a:lnTo>
                    <a:pt x="320" y="208"/>
                  </a:lnTo>
                  <a:lnTo>
                    <a:pt x="312" y="184"/>
                  </a:lnTo>
                  <a:lnTo>
                    <a:pt x="312" y="192"/>
                  </a:lnTo>
                  <a:lnTo>
                    <a:pt x="296" y="184"/>
                  </a:lnTo>
                  <a:lnTo>
                    <a:pt x="296" y="176"/>
                  </a:lnTo>
                  <a:lnTo>
                    <a:pt x="312" y="160"/>
                  </a:lnTo>
                  <a:lnTo>
                    <a:pt x="280" y="160"/>
                  </a:lnTo>
                  <a:lnTo>
                    <a:pt x="272" y="144"/>
                  </a:lnTo>
                  <a:lnTo>
                    <a:pt x="264" y="144"/>
                  </a:lnTo>
                  <a:lnTo>
                    <a:pt x="256" y="144"/>
                  </a:lnTo>
                  <a:lnTo>
                    <a:pt x="256" y="152"/>
                  </a:lnTo>
                  <a:lnTo>
                    <a:pt x="264" y="160"/>
                  </a:lnTo>
                  <a:lnTo>
                    <a:pt x="256" y="168"/>
                  </a:lnTo>
                  <a:lnTo>
                    <a:pt x="264" y="176"/>
                  </a:lnTo>
                  <a:lnTo>
                    <a:pt x="272" y="216"/>
                  </a:lnTo>
                  <a:lnTo>
                    <a:pt x="264" y="208"/>
                  </a:lnTo>
                  <a:lnTo>
                    <a:pt x="264" y="216"/>
                  </a:lnTo>
                  <a:lnTo>
                    <a:pt x="248" y="216"/>
                  </a:lnTo>
                  <a:lnTo>
                    <a:pt x="248" y="240"/>
                  </a:lnTo>
                  <a:lnTo>
                    <a:pt x="232" y="248"/>
                  </a:lnTo>
                  <a:lnTo>
                    <a:pt x="224" y="264"/>
                  </a:lnTo>
                  <a:lnTo>
                    <a:pt x="200" y="288"/>
                  </a:lnTo>
                  <a:lnTo>
                    <a:pt x="192" y="296"/>
                  </a:lnTo>
                  <a:lnTo>
                    <a:pt x="184" y="296"/>
                  </a:lnTo>
                  <a:lnTo>
                    <a:pt x="184" y="304"/>
                  </a:lnTo>
                  <a:lnTo>
                    <a:pt x="176" y="304"/>
                  </a:lnTo>
                  <a:lnTo>
                    <a:pt x="168" y="312"/>
                  </a:lnTo>
                  <a:lnTo>
                    <a:pt x="176" y="344"/>
                  </a:lnTo>
                  <a:lnTo>
                    <a:pt x="168" y="368"/>
                  </a:lnTo>
                  <a:lnTo>
                    <a:pt x="168" y="384"/>
                  </a:lnTo>
                  <a:lnTo>
                    <a:pt x="160" y="400"/>
                  </a:lnTo>
                  <a:lnTo>
                    <a:pt x="152" y="408"/>
                  </a:lnTo>
                  <a:lnTo>
                    <a:pt x="144" y="424"/>
                  </a:lnTo>
                  <a:lnTo>
                    <a:pt x="128" y="408"/>
                  </a:lnTo>
                  <a:lnTo>
                    <a:pt x="96" y="320"/>
                  </a:lnTo>
                  <a:lnTo>
                    <a:pt x="80" y="296"/>
                  </a:lnTo>
                  <a:lnTo>
                    <a:pt x="64" y="208"/>
                  </a:lnTo>
                  <a:lnTo>
                    <a:pt x="56" y="208"/>
                  </a:lnTo>
                  <a:lnTo>
                    <a:pt x="56" y="224"/>
                  </a:lnTo>
                  <a:lnTo>
                    <a:pt x="48" y="224"/>
                  </a:lnTo>
                  <a:lnTo>
                    <a:pt x="40" y="232"/>
                  </a:lnTo>
                  <a:lnTo>
                    <a:pt x="16" y="208"/>
                  </a:lnTo>
                  <a:lnTo>
                    <a:pt x="32" y="200"/>
                  </a:lnTo>
                  <a:lnTo>
                    <a:pt x="32" y="192"/>
                  </a:lnTo>
                  <a:lnTo>
                    <a:pt x="16" y="200"/>
                  </a:lnTo>
                  <a:lnTo>
                    <a:pt x="0" y="184"/>
                  </a:lnTo>
                  <a:lnTo>
                    <a:pt x="8" y="176"/>
                  </a:lnTo>
                  <a:lnTo>
                    <a:pt x="32" y="176"/>
                  </a:lnTo>
                  <a:lnTo>
                    <a:pt x="32" y="168"/>
                  </a:lnTo>
                  <a:lnTo>
                    <a:pt x="32" y="152"/>
                  </a:lnTo>
                  <a:lnTo>
                    <a:pt x="24" y="152"/>
                  </a:lnTo>
                  <a:lnTo>
                    <a:pt x="24" y="144"/>
                  </a:lnTo>
                  <a:lnTo>
                    <a:pt x="16" y="136"/>
                  </a:lnTo>
                  <a:lnTo>
                    <a:pt x="16" y="128"/>
                  </a:lnTo>
                  <a:lnTo>
                    <a:pt x="24" y="120"/>
                  </a:lnTo>
                  <a:lnTo>
                    <a:pt x="32" y="120"/>
                  </a:lnTo>
                  <a:lnTo>
                    <a:pt x="40" y="120"/>
                  </a:lnTo>
                  <a:lnTo>
                    <a:pt x="72" y="72"/>
                  </a:lnTo>
                  <a:lnTo>
                    <a:pt x="64" y="56"/>
                  </a:lnTo>
                  <a:lnTo>
                    <a:pt x="72" y="56"/>
                  </a:lnTo>
                  <a:lnTo>
                    <a:pt x="56" y="40"/>
                  </a:lnTo>
                  <a:lnTo>
                    <a:pt x="56" y="24"/>
                  </a:lnTo>
                  <a:lnTo>
                    <a:pt x="48" y="16"/>
                  </a:lnTo>
                  <a:lnTo>
                    <a:pt x="72" y="16"/>
                  </a:lnTo>
                  <a:lnTo>
                    <a:pt x="88" y="16"/>
                  </a:lnTo>
                  <a:lnTo>
                    <a:pt x="96" y="8"/>
                  </a:lnTo>
                  <a:lnTo>
                    <a:pt x="112" y="0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0" y="32"/>
                  </a:lnTo>
                  <a:lnTo>
                    <a:pt x="128" y="48"/>
                  </a:lnTo>
                  <a:lnTo>
                    <a:pt x="112" y="48"/>
                  </a:lnTo>
                  <a:lnTo>
                    <a:pt x="112" y="56"/>
                  </a:lnTo>
                  <a:lnTo>
                    <a:pt x="128" y="72"/>
                  </a:lnTo>
                  <a:lnTo>
                    <a:pt x="152" y="88"/>
                  </a:lnTo>
                  <a:lnTo>
                    <a:pt x="144" y="104"/>
                  </a:lnTo>
                  <a:lnTo>
                    <a:pt x="184" y="128"/>
                  </a:lnTo>
                  <a:lnTo>
                    <a:pt x="200" y="128"/>
                  </a:lnTo>
                  <a:lnTo>
                    <a:pt x="216" y="136"/>
                  </a:lnTo>
                  <a:lnTo>
                    <a:pt x="240" y="144"/>
                  </a:lnTo>
                  <a:lnTo>
                    <a:pt x="256" y="144"/>
                  </a:lnTo>
                  <a:lnTo>
                    <a:pt x="248" y="136"/>
                  </a:lnTo>
                  <a:lnTo>
                    <a:pt x="248" y="120"/>
                  </a:lnTo>
                  <a:lnTo>
                    <a:pt x="256" y="12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3" name="Freeform 63">
              <a:extLst>
                <a:ext uri="{FF2B5EF4-FFF2-40B4-BE49-F238E27FC236}">
                  <a16:creationId xmlns:a16="http://schemas.microsoft.com/office/drawing/2014/main" id="{A014B80F-9C13-7382-D367-D9F639CBD396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7010401" y="3852863"/>
              <a:ext cx="242888" cy="103188"/>
            </a:xfrm>
            <a:custGeom>
              <a:avLst/>
              <a:gdLst>
                <a:gd name="T0" fmla="*/ 225539 w 112"/>
                <a:gd name="T1" fmla="*/ 88447 h 56"/>
                <a:gd name="T2" fmla="*/ 225539 w 112"/>
                <a:gd name="T3" fmla="*/ 58965 h 56"/>
                <a:gd name="T4" fmla="*/ 173491 w 112"/>
                <a:gd name="T5" fmla="*/ 58965 h 56"/>
                <a:gd name="T6" fmla="*/ 104095 w 112"/>
                <a:gd name="T7" fmla="*/ 14741 h 56"/>
                <a:gd name="T8" fmla="*/ 86746 w 112"/>
                <a:gd name="T9" fmla="*/ 29482 h 56"/>
                <a:gd name="T10" fmla="*/ 52047 w 112"/>
                <a:gd name="T11" fmla="*/ 0 h 56"/>
                <a:gd name="T12" fmla="*/ 17349 w 112"/>
                <a:gd name="T13" fmla="*/ 0 h 56"/>
                <a:gd name="T14" fmla="*/ 0 w 112"/>
                <a:gd name="T15" fmla="*/ 29482 h 56"/>
                <a:gd name="T16" fmla="*/ 86746 w 112"/>
                <a:gd name="T17" fmla="*/ 73706 h 56"/>
                <a:gd name="T18" fmla="*/ 121444 w 112"/>
                <a:gd name="T19" fmla="*/ 73706 h 56"/>
                <a:gd name="T20" fmla="*/ 156142 w 112"/>
                <a:gd name="T21" fmla="*/ 88447 h 56"/>
                <a:gd name="T22" fmla="*/ 208190 w 112"/>
                <a:gd name="T23" fmla="*/ 103188 h 56"/>
                <a:gd name="T24" fmla="*/ 242888 w 112"/>
                <a:gd name="T25" fmla="*/ 103188 h 56"/>
                <a:gd name="T26" fmla="*/ 225539 w 112"/>
                <a:gd name="T27" fmla="*/ 88447 h 5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12"/>
                <a:gd name="T43" fmla="*/ 0 h 56"/>
                <a:gd name="T44" fmla="*/ 112 w 112"/>
                <a:gd name="T45" fmla="*/ 56 h 5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12" h="56">
                  <a:moveTo>
                    <a:pt x="104" y="48"/>
                  </a:moveTo>
                  <a:lnTo>
                    <a:pt x="104" y="32"/>
                  </a:lnTo>
                  <a:lnTo>
                    <a:pt x="80" y="32"/>
                  </a:lnTo>
                  <a:lnTo>
                    <a:pt x="48" y="8"/>
                  </a:lnTo>
                  <a:lnTo>
                    <a:pt x="40" y="16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40" y="40"/>
                  </a:lnTo>
                  <a:lnTo>
                    <a:pt x="56" y="40"/>
                  </a:lnTo>
                  <a:lnTo>
                    <a:pt x="72" y="48"/>
                  </a:lnTo>
                  <a:lnTo>
                    <a:pt x="96" y="56"/>
                  </a:lnTo>
                  <a:lnTo>
                    <a:pt x="112" y="56"/>
                  </a:lnTo>
                  <a:lnTo>
                    <a:pt x="104" y="4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4" name="Freeform 64">
              <a:extLst>
                <a:ext uri="{FF2B5EF4-FFF2-40B4-BE49-F238E27FC236}">
                  <a16:creationId xmlns:a16="http://schemas.microsoft.com/office/drawing/2014/main" id="{FE518B55-498F-E9D0-FFED-F17BBAA4D677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5973763" y="3571876"/>
              <a:ext cx="569913" cy="412750"/>
            </a:xfrm>
            <a:custGeom>
              <a:avLst/>
              <a:gdLst>
                <a:gd name="T0" fmla="*/ 414482 w 264"/>
                <a:gd name="T1" fmla="*/ 398009 h 224"/>
                <a:gd name="T2" fmla="*/ 397212 w 264"/>
                <a:gd name="T3" fmla="*/ 368527 h 224"/>
                <a:gd name="T4" fmla="*/ 345402 w 264"/>
                <a:gd name="T5" fmla="*/ 383268 h 224"/>
                <a:gd name="T6" fmla="*/ 310862 w 264"/>
                <a:gd name="T7" fmla="*/ 383268 h 224"/>
                <a:gd name="T8" fmla="*/ 241781 w 264"/>
                <a:gd name="T9" fmla="*/ 339045 h 224"/>
                <a:gd name="T10" fmla="*/ 207241 w 264"/>
                <a:gd name="T11" fmla="*/ 280080 h 224"/>
                <a:gd name="T12" fmla="*/ 172701 w 264"/>
                <a:gd name="T13" fmla="*/ 265339 h 224"/>
                <a:gd name="T14" fmla="*/ 155431 w 264"/>
                <a:gd name="T15" fmla="*/ 280080 h 224"/>
                <a:gd name="T16" fmla="*/ 120891 w 264"/>
                <a:gd name="T17" fmla="*/ 250598 h 224"/>
                <a:gd name="T18" fmla="*/ 120891 w 264"/>
                <a:gd name="T19" fmla="*/ 206375 h 224"/>
                <a:gd name="T20" fmla="*/ 69080 w 264"/>
                <a:gd name="T21" fmla="*/ 191634 h 224"/>
                <a:gd name="T22" fmla="*/ 51810 w 264"/>
                <a:gd name="T23" fmla="*/ 162152 h 224"/>
                <a:gd name="T24" fmla="*/ 69080 w 264"/>
                <a:gd name="T25" fmla="*/ 132670 h 224"/>
                <a:gd name="T26" fmla="*/ 34540 w 264"/>
                <a:gd name="T27" fmla="*/ 73705 h 224"/>
                <a:gd name="T28" fmla="*/ 0 w 264"/>
                <a:gd name="T29" fmla="*/ 14741 h 224"/>
                <a:gd name="T30" fmla="*/ 17270 w 264"/>
                <a:gd name="T31" fmla="*/ 0 h 224"/>
                <a:gd name="T32" fmla="*/ 34540 w 264"/>
                <a:gd name="T33" fmla="*/ 29482 h 224"/>
                <a:gd name="T34" fmla="*/ 51810 w 264"/>
                <a:gd name="T35" fmla="*/ 29482 h 224"/>
                <a:gd name="T36" fmla="*/ 69080 w 264"/>
                <a:gd name="T37" fmla="*/ 29482 h 224"/>
                <a:gd name="T38" fmla="*/ 103621 w 264"/>
                <a:gd name="T39" fmla="*/ 14741 h 224"/>
                <a:gd name="T40" fmla="*/ 103621 w 264"/>
                <a:gd name="T41" fmla="*/ 29482 h 224"/>
                <a:gd name="T42" fmla="*/ 138161 w 264"/>
                <a:gd name="T43" fmla="*/ 44223 h 224"/>
                <a:gd name="T44" fmla="*/ 138161 w 264"/>
                <a:gd name="T45" fmla="*/ 73705 h 224"/>
                <a:gd name="T46" fmla="*/ 207241 w 264"/>
                <a:gd name="T47" fmla="*/ 103188 h 224"/>
                <a:gd name="T48" fmla="*/ 276321 w 264"/>
                <a:gd name="T49" fmla="*/ 88446 h 224"/>
                <a:gd name="T50" fmla="*/ 276321 w 264"/>
                <a:gd name="T51" fmla="*/ 73705 h 224"/>
                <a:gd name="T52" fmla="*/ 310862 w 264"/>
                <a:gd name="T53" fmla="*/ 58964 h 224"/>
                <a:gd name="T54" fmla="*/ 345402 w 264"/>
                <a:gd name="T55" fmla="*/ 44223 h 224"/>
                <a:gd name="T56" fmla="*/ 483562 w 264"/>
                <a:gd name="T57" fmla="*/ 103188 h 224"/>
                <a:gd name="T58" fmla="*/ 483562 w 264"/>
                <a:gd name="T59" fmla="*/ 117929 h 224"/>
                <a:gd name="T60" fmla="*/ 483562 w 264"/>
                <a:gd name="T61" fmla="*/ 147411 h 224"/>
                <a:gd name="T62" fmla="*/ 466292 w 264"/>
                <a:gd name="T63" fmla="*/ 162152 h 224"/>
                <a:gd name="T64" fmla="*/ 466292 w 264"/>
                <a:gd name="T65" fmla="*/ 176893 h 224"/>
                <a:gd name="T66" fmla="*/ 483562 w 264"/>
                <a:gd name="T67" fmla="*/ 235857 h 224"/>
                <a:gd name="T68" fmla="*/ 518103 w 264"/>
                <a:gd name="T69" fmla="*/ 235857 h 224"/>
                <a:gd name="T70" fmla="*/ 518103 w 264"/>
                <a:gd name="T71" fmla="*/ 250598 h 224"/>
                <a:gd name="T72" fmla="*/ 500833 w 264"/>
                <a:gd name="T73" fmla="*/ 280080 h 224"/>
                <a:gd name="T74" fmla="*/ 535373 w 264"/>
                <a:gd name="T75" fmla="*/ 324304 h 224"/>
                <a:gd name="T76" fmla="*/ 552643 w 264"/>
                <a:gd name="T77" fmla="*/ 324304 h 224"/>
                <a:gd name="T78" fmla="*/ 569913 w 264"/>
                <a:gd name="T79" fmla="*/ 353786 h 224"/>
                <a:gd name="T80" fmla="*/ 569913 w 264"/>
                <a:gd name="T81" fmla="*/ 368527 h 224"/>
                <a:gd name="T82" fmla="*/ 535373 w 264"/>
                <a:gd name="T83" fmla="*/ 383268 h 224"/>
                <a:gd name="T84" fmla="*/ 535373 w 264"/>
                <a:gd name="T85" fmla="*/ 412750 h 224"/>
                <a:gd name="T86" fmla="*/ 414482 w 264"/>
                <a:gd name="T87" fmla="*/ 398009 h 22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64"/>
                <a:gd name="T133" fmla="*/ 0 h 224"/>
                <a:gd name="T134" fmla="*/ 264 w 264"/>
                <a:gd name="T135" fmla="*/ 224 h 22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64" h="224">
                  <a:moveTo>
                    <a:pt x="192" y="216"/>
                  </a:moveTo>
                  <a:lnTo>
                    <a:pt x="184" y="200"/>
                  </a:lnTo>
                  <a:lnTo>
                    <a:pt x="160" y="208"/>
                  </a:lnTo>
                  <a:lnTo>
                    <a:pt x="144" y="208"/>
                  </a:lnTo>
                  <a:lnTo>
                    <a:pt x="112" y="184"/>
                  </a:lnTo>
                  <a:lnTo>
                    <a:pt x="96" y="152"/>
                  </a:lnTo>
                  <a:lnTo>
                    <a:pt x="80" y="144"/>
                  </a:lnTo>
                  <a:lnTo>
                    <a:pt x="72" y="152"/>
                  </a:lnTo>
                  <a:lnTo>
                    <a:pt x="56" y="136"/>
                  </a:lnTo>
                  <a:lnTo>
                    <a:pt x="56" y="112"/>
                  </a:lnTo>
                  <a:lnTo>
                    <a:pt x="32" y="104"/>
                  </a:lnTo>
                  <a:lnTo>
                    <a:pt x="24" y="88"/>
                  </a:lnTo>
                  <a:lnTo>
                    <a:pt x="32" y="72"/>
                  </a:lnTo>
                  <a:lnTo>
                    <a:pt x="16" y="40"/>
                  </a:lnTo>
                  <a:lnTo>
                    <a:pt x="0" y="8"/>
                  </a:lnTo>
                  <a:lnTo>
                    <a:pt x="8" y="0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32" y="16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64" y="24"/>
                  </a:lnTo>
                  <a:lnTo>
                    <a:pt x="64" y="40"/>
                  </a:lnTo>
                  <a:lnTo>
                    <a:pt x="96" y="56"/>
                  </a:lnTo>
                  <a:lnTo>
                    <a:pt x="128" y="48"/>
                  </a:lnTo>
                  <a:lnTo>
                    <a:pt x="128" y="40"/>
                  </a:lnTo>
                  <a:lnTo>
                    <a:pt x="144" y="32"/>
                  </a:lnTo>
                  <a:lnTo>
                    <a:pt x="160" y="24"/>
                  </a:lnTo>
                  <a:lnTo>
                    <a:pt x="224" y="56"/>
                  </a:lnTo>
                  <a:lnTo>
                    <a:pt x="224" y="64"/>
                  </a:lnTo>
                  <a:lnTo>
                    <a:pt x="224" y="80"/>
                  </a:lnTo>
                  <a:lnTo>
                    <a:pt x="216" y="88"/>
                  </a:lnTo>
                  <a:lnTo>
                    <a:pt x="216" y="96"/>
                  </a:lnTo>
                  <a:lnTo>
                    <a:pt x="224" y="128"/>
                  </a:lnTo>
                  <a:lnTo>
                    <a:pt x="240" y="128"/>
                  </a:lnTo>
                  <a:lnTo>
                    <a:pt x="240" y="136"/>
                  </a:lnTo>
                  <a:lnTo>
                    <a:pt x="232" y="152"/>
                  </a:lnTo>
                  <a:lnTo>
                    <a:pt x="248" y="176"/>
                  </a:lnTo>
                  <a:lnTo>
                    <a:pt x="256" y="176"/>
                  </a:lnTo>
                  <a:lnTo>
                    <a:pt x="264" y="192"/>
                  </a:lnTo>
                  <a:lnTo>
                    <a:pt x="264" y="200"/>
                  </a:lnTo>
                  <a:lnTo>
                    <a:pt x="248" y="208"/>
                  </a:lnTo>
                  <a:lnTo>
                    <a:pt x="248" y="224"/>
                  </a:lnTo>
                  <a:lnTo>
                    <a:pt x="192" y="2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5" name="Freeform 65">
              <a:extLst>
                <a:ext uri="{FF2B5EF4-FFF2-40B4-BE49-F238E27FC236}">
                  <a16:creationId xmlns:a16="http://schemas.microsoft.com/office/drawing/2014/main" id="{CBDCDC96-A227-7068-FA87-6E7495F2DCE6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6475413" y="3660776"/>
              <a:ext cx="431800" cy="368300"/>
            </a:xfrm>
            <a:custGeom>
              <a:avLst/>
              <a:gdLst>
                <a:gd name="T0" fmla="*/ 241808 w 200"/>
                <a:gd name="T1" fmla="*/ 353568 h 200"/>
                <a:gd name="T2" fmla="*/ 293624 w 200"/>
                <a:gd name="T3" fmla="*/ 353568 h 200"/>
                <a:gd name="T4" fmla="*/ 293624 w 200"/>
                <a:gd name="T5" fmla="*/ 338836 h 200"/>
                <a:gd name="T6" fmla="*/ 293624 w 200"/>
                <a:gd name="T7" fmla="*/ 309372 h 200"/>
                <a:gd name="T8" fmla="*/ 276352 w 200"/>
                <a:gd name="T9" fmla="*/ 309372 h 200"/>
                <a:gd name="T10" fmla="*/ 276352 w 200"/>
                <a:gd name="T11" fmla="*/ 294640 h 200"/>
                <a:gd name="T12" fmla="*/ 259080 w 200"/>
                <a:gd name="T13" fmla="*/ 279908 h 200"/>
                <a:gd name="T14" fmla="*/ 259080 w 200"/>
                <a:gd name="T15" fmla="*/ 265176 h 200"/>
                <a:gd name="T16" fmla="*/ 276352 w 200"/>
                <a:gd name="T17" fmla="*/ 250444 h 200"/>
                <a:gd name="T18" fmla="*/ 293624 w 200"/>
                <a:gd name="T19" fmla="*/ 250444 h 200"/>
                <a:gd name="T20" fmla="*/ 310896 w 200"/>
                <a:gd name="T21" fmla="*/ 250444 h 200"/>
                <a:gd name="T22" fmla="*/ 379984 w 200"/>
                <a:gd name="T23" fmla="*/ 162052 h 200"/>
                <a:gd name="T24" fmla="*/ 362712 w 200"/>
                <a:gd name="T25" fmla="*/ 132588 h 200"/>
                <a:gd name="T26" fmla="*/ 379984 w 200"/>
                <a:gd name="T27" fmla="*/ 132588 h 200"/>
                <a:gd name="T28" fmla="*/ 345440 w 200"/>
                <a:gd name="T29" fmla="*/ 103124 h 200"/>
                <a:gd name="T30" fmla="*/ 345440 w 200"/>
                <a:gd name="T31" fmla="*/ 73660 h 200"/>
                <a:gd name="T32" fmla="*/ 328168 w 200"/>
                <a:gd name="T33" fmla="*/ 58928 h 200"/>
                <a:gd name="T34" fmla="*/ 379984 w 200"/>
                <a:gd name="T35" fmla="*/ 58928 h 200"/>
                <a:gd name="T36" fmla="*/ 414528 w 200"/>
                <a:gd name="T37" fmla="*/ 58928 h 200"/>
                <a:gd name="T38" fmla="*/ 431800 w 200"/>
                <a:gd name="T39" fmla="*/ 44196 h 200"/>
                <a:gd name="T40" fmla="*/ 379984 w 200"/>
                <a:gd name="T41" fmla="*/ 29464 h 200"/>
                <a:gd name="T42" fmla="*/ 362712 w 200"/>
                <a:gd name="T43" fmla="*/ 0 h 200"/>
                <a:gd name="T44" fmla="*/ 328168 w 200"/>
                <a:gd name="T45" fmla="*/ 0 h 200"/>
                <a:gd name="T46" fmla="*/ 310896 w 200"/>
                <a:gd name="T47" fmla="*/ 0 h 200"/>
                <a:gd name="T48" fmla="*/ 293624 w 200"/>
                <a:gd name="T49" fmla="*/ 0 h 200"/>
                <a:gd name="T50" fmla="*/ 259080 w 200"/>
                <a:gd name="T51" fmla="*/ 14732 h 200"/>
                <a:gd name="T52" fmla="*/ 259080 w 200"/>
                <a:gd name="T53" fmla="*/ 58928 h 200"/>
                <a:gd name="T54" fmla="*/ 259080 w 200"/>
                <a:gd name="T55" fmla="*/ 73660 h 200"/>
                <a:gd name="T56" fmla="*/ 224536 w 200"/>
                <a:gd name="T57" fmla="*/ 73660 h 200"/>
                <a:gd name="T58" fmla="*/ 241808 w 200"/>
                <a:gd name="T59" fmla="*/ 88392 h 200"/>
                <a:gd name="T60" fmla="*/ 224536 w 200"/>
                <a:gd name="T61" fmla="*/ 103124 h 200"/>
                <a:gd name="T62" fmla="*/ 224536 w 200"/>
                <a:gd name="T63" fmla="*/ 147320 h 200"/>
                <a:gd name="T64" fmla="*/ 155448 w 200"/>
                <a:gd name="T65" fmla="*/ 162052 h 200"/>
                <a:gd name="T66" fmla="*/ 155448 w 200"/>
                <a:gd name="T67" fmla="*/ 191516 h 200"/>
                <a:gd name="T68" fmla="*/ 34544 w 200"/>
                <a:gd name="T69" fmla="*/ 206248 h 200"/>
                <a:gd name="T70" fmla="*/ 0 w 200"/>
                <a:gd name="T71" fmla="*/ 191516 h 200"/>
                <a:gd name="T72" fmla="*/ 34544 w 200"/>
                <a:gd name="T73" fmla="*/ 235712 h 200"/>
                <a:gd name="T74" fmla="*/ 51816 w 200"/>
                <a:gd name="T75" fmla="*/ 235712 h 200"/>
                <a:gd name="T76" fmla="*/ 69088 w 200"/>
                <a:gd name="T77" fmla="*/ 265176 h 200"/>
                <a:gd name="T78" fmla="*/ 69088 w 200"/>
                <a:gd name="T79" fmla="*/ 279908 h 200"/>
                <a:gd name="T80" fmla="*/ 34544 w 200"/>
                <a:gd name="T81" fmla="*/ 294640 h 200"/>
                <a:gd name="T82" fmla="*/ 34544 w 200"/>
                <a:gd name="T83" fmla="*/ 324104 h 200"/>
                <a:gd name="T84" fmla="*/ 103632 w 200"/>
                <a:gd name="T85" fmla="*/ 324104 h 200"/>
                <a:gd name="T86" fmla="*/ 120904 w 200"/>
                <a:gd name="T87" fmla="*/ 324104 h 200"/>
                <a:gd name="T88" fmla="*/ 172720 w 200"/>
                <a:gd name="T89" fmla="*/ 324104 h 200"/>
                <a:gd name="T90" fmla="*/ 207264 w 200"/>
                <a:gd name="T91" fmla="*/ 368300 h 200"/>
                <a:gd name="T92" fmla="*/ 224536 w 200"/>
                <a:gd name="T93" fmla="*/ 368300 h 200"/>
                <a:gd name="T94" fmla="*/ 241808 w 200"/>
                <a:gd name="T95" fmla="*/ 353568 h 2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0"/>
                <a:gd name="T145" fmla="*/ 0 h 200"/>
                <a:gd name="T146" fmla="*/ 200 w 200"/>
                <a:gd name="T147" fmla="*/ 200 h 2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0" h="200">
                  <a:moveTo>
                    <a:pt x="112" y="192"/>
                  </a:moveTo>
                  <a:lnTo>
                    <a:pt x="136" y="192"/>
                  </a:lnTo>
                  <a:lnTo>
                    <a:pt x="136" y="184"/>
                  </a:lnTo>
                  <a:lnTo>
                    <a:pt x="136" y="168"/>
                  </a:lnTo>
                  <a:lnTo>
                    <a:pt x="128" y="168"/>
                  </a:lnTo>
                  <a:lnTo>
                    <a:pt x="128" y="160"/>
                  </a:lnTo>
                  <a:lnTo>
                    <a:pt x="120" y="152"/>
                  </a:lnTo>
                  <a:lnTo>
                    <a:pt x="120" y="144"/>
                  </a:lnTo>
                  <a:lnTo>
                    <a:pt x="128" y="136"/>
                  </a:lnTo>
                  <a:lnTo>
                    <a:pt x="136" y="136"/>
                  </a:lnTo>
                  <a:lnTo>
                    <a:pt x="144" y="136"/>
                  </a:lnTo>
                  <a:lnTo>
                    <a:pt x="176" y="88"/>
                  </a:lnTo>
                  <a:lnTo>
                    <a:pt x="168" y="72"/>
                  </a:lnTo>
                  <a:lnTo>
                    <a:pt x="176" y="72"/>
                  </a:lnTo>
                  <a:lnTo>
                    <a:pt x="160" y="56"/>
                  </a:lnTo>
                  <a:lnTo>
                    <a:pt x="160" y="40"/>
                  </a:lnTo>
                  <a:lnTo>
                    <a:pt x="152" y="32"/>
                  </a:lnTo>
                  <a:lnTo>
                    <a:pt x="176" y="32"/>
                  </a:lnTo>
                  <a:lnTo>
                    <a:pt x="192" y="32"/>
                  </a:lnTo>
                  <a:lnTo>
                    <a:pt x="200" y="24"/>
                  </a:lnTo>
                  <a:lnTo>
                    <a:pt x="176" y="16"/>
                  </a:lnTo>
                  <a:lnTo>
                    <a:pt x="168" y="0"/>
                  </a:lnTo>
                  <a:lnTo>
                    <a:pt x="152" y="0"/>
                  </a:lnTo>
                  <a:lnTo>
                    <a:pt x="144" y="0"/>
                  </a:lnTo>
                  <a:lnTo>
                    <a:pt x="136" y="0"/>
                  </a:lnTo>
                  <a:lnTo>
                    <a:pt x="120" y="8"/>
                  </a:lnTo>
                  <a:lnTo>
                    <a:pt x="120" y="32"/>
                  </a:lnTo>
                  <a:lnTo>
                    <a:pt x="120" y="40"/>
                  </a:lnTo>
                  <a:lnTo>
                    <a:pt x="104" y="40"/>
                  </a:lnTo>
                  <a:lnTo>
                    <a:pt x="112" y="48"/>
                  </a:lnTo>
                  <a:lnTo>
                    <a:pt x="104" y="56"/>
                  </a:lnTo>
                  <a:lnTo>
                    <a:pt x="104" y="80"/>
                  </a:lnTo>
                  <a:lnTo>
                    <a:pt x="72" y="88"/>
                  </a:lnTo>
                  <a:lnTo>
                    <a:pt x="72" y="104"/>
                  </a:lnTo>
                  <a:lnTo>
                    <a:pt x="16" y="112"/>
                  </a:lnTo>
                  <a:lnTo>
                    <a:pt x="0" y="104"/>
                  </a:lnTo>
                  <a:lnTo>
                    <a:pt x="16" y="128"/>
                  </a:lnTo>
                  <a:lnTo>
                    <a:pt x="24" y="128"/>
                  </a:lnTo>
                  <a:lnTo>
                    <a:pt x="32" y="144"/>
                  </a:lnTo>
                  <a:lnTo>
                    <a:pt x="32" y="152"/>
                  </a:lnTo>
                  <a:lnTo>
                    <a:pt x="16" y="160"/>
                  </a:lnTo>
                  <a:lnTo>
                    <a:pt x="16" y="176"/>
                  </a:lnTo>
                  <a:lnTo>
                    <a:pt x="48" y="176"/>
                  </a:lnTo>
                  <a:lnTo>
                    <a:pt x="56" y="176"/>
                  </a:lnTo>
                  <a:lnTo>
                    <a:pt x="80" y="176"/>
                  </a:lnTo>
                  <a:lnTo>
                    <a:pt x="96" y="200"/>
                  </a:lnTo>
                  <a:lnTo>
                    <a:pt x="104" y="200"/>
                  </a:lnTo>
                  <a:lnTo>
                    <a:pt x="112" y="19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6" name="Freeform 66">
              <a:extLst>
                <a:ext uri="{FF2B5EF4-FFF2-40B4-BE49-F238E27FC236}">
                  <a16:creationId xmlns:a16="http://schemas.microsoft.com/office/drawing/2014/main" id="{1F26BEEA-5EB1-E1E8-8FDF-E5BE54BA7AA6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6440488" y="3616326"/>
              <a:ext cx="363538" cy="250825"/>
            </a:xfrm>
            <a:custGeom>
              <a:avLst/>
              <a:gdLst>
                <a:gd name="T0" fmla="*/ 138491 w 168"/>
                <a:gd name="T1" fmla="*/ 29509 h 136"/>
                <a:gd name="T2" fmla="*/ 173113 w 168"/>
                <a:gd name="T3" fmla="*/ 44263 h 136"/>
                <a:gd name="T4" fmla="*/ 190425 w 168"/>
                <a:gd name="T5" fmla="*/ 44263 h 136"/>
                <a:gd name="T6" fmla="*/ 225047 w 168"/>
                <a:gd name="T7" fmla="*/ 29509 h 136"/>
                <a:gd name="T8" fmla="*/ 242359 w 168"/>
                <a:gd name="T9" fmla="*/ 29509 h 136"/>
                <a:gd name="T10" fmla="*/ 259670 w 168"/>
                <a:gd name="T11" fmla="*/ 0 h 136"/>
                <a:gd name="T12" fmla="*/ 276981 w 168"/>
                <a:gd name="T13" fmla="*/ 14754 h 136"/>
                <a:gd name="T14" fmla="*/ 294293 w 168"/>
                <a:gd name="T15" fmla="*/ 44263 h 136"/>
                <a:gd name="T16" fmla="*/ 328915 w 168"/>
                <a:gd name="T17" fmla="*/ 29509 h 136"/>
                <a:gd name="T18" fmla="*/ 363538 w 168"/>
                <a:gd name="T19" fmla="*/ 29509 h 136"/>
                <a:gd name="T20" fmla="*/ 363538 w 168"/>
                <a:gd name="T21" fmla="*/ 44263 h 136"/>
                <a:gd name="T22" fmla="*/ 346227 w 168"/>
                <a:gd name="T23" fmla="*/ 44263 h 136"/>
                <a:gd name="T24" fmla="*/ 328915 w 168"/>
                <a:gd name="T25" fmla="*/ 44263 h 136"/>
                <a:gd name="T26" fmla="*/ 294293 w 168"/>
                <a:gd name="T27" fmla="*/ 59018 h 136"/>
                <a:gd name="T28" fmla="*/ 294293 w 168"/>
                <a:gd name="T29" fmla="*/ 103281 h 136"/>
                <a:gd name="T30" fmla="*/ 294293 w 168"/>
                <a:gd name="T31" fmla="*/ 118035 h 136"/>
                <a:gd name="T32" fmla="*/ 259670 w 168"/>
                <a:gd name="T33" fmla="*/ 118035 h 136"/>
                <a:gd name="T34" fmla="*/ 276981 w 168"/>
                <a:gd name="T35" fmla="*/ 132790 h 136"/>
                <a:gd name="T36" fmla="*/ 259670 w 168"/>
                <a:gd name="T37" fmla="*/ 147544 h 136"/>
                <a:gd name="T38" fmla="*/ 259670 w 168"/>
                <a:gd name="T39" fmla="*/ 191807 h 136"/>
                <a:gd name="T40" fmla="*/ 190425 w 168"/>
                <a:gd name="T41" fmla="*/ 206562 h 136"/>
                <a:gd name="T42" fmla="*/ 190425 w 168"/>
                <a:gd name="T43" fmla="*/ 236071 h 136"/>
                <a:gd name="T44" fmla="*/ 69245 w 168"/>
                <a:gd name="T45" fmla="*/ 250825 h 136"/>
                <a:gd name="T46" fmla="*/ 34623 w 168"/>
                <a:gd name="T47" fmla="*/ 236071 h 136"/>
                <a:gd name="T48" fmla="*/ 51934 w 168"/>
                <a:gd name="T49" fmla="*/ 206562 h 136"/>
                <a:gd name="T50" fmla="*/ 51934 w 168"/>
                <a:gd name="T51" fmla="*/ 191807 h 136"/>
                <a:gd name="T52" fmla="*/ 17311 w 168"/>
                <a:gd name="T53" fmla="*/ 191807 h 136"/>
                <a:gd name="T54" fmla="*/ 0 w 168"/>
                <a:gd name="T55" fmla="*/ 132790 h 136"/>
                <a:gd name="T56" fmla="*/ 0 w 168"/>
                <a:gd name="T57" fmla="*/ 118035 h 136"/>
                <a:gd name="T58" fmla="*/ 17311 w 168"/>
                <a:gd name="T59" fmla="*/ 103281 h 136"/>
                <a:gd name="T60" fmla="*/ 17311 w 168"/>
                <a:gd name="T61" fmla="*/ 73772 h 136"/>
                <a:gd name="T62" fmla="*/ 51934 w 168"/>
                <a:gd name="T63" fmla="*/ 88526 h 136"/>
                <a:gd name="T64" fmla="*/ 69245 w 168"/>
                <a:gd name="T65" fmla="*/ 73772 h 136"/>
                <a:gd name="T66" fmla="*/ 103868 w 168"/>
                <a:gd name="T67" fmla="*/ 59018 h 136"/>
                <a:gd name="T68" fmla="*/ 103868 w 168"/>
                <a:gd name="T69" fmla="*/ 29509 h 136"/>
                <a:gd name="T70" fmla="*/ 121179 w 168"/>
                <a:gd name="T71" fmla="*/ 29509 h 136"/>
                <a:gd name="T72" fmla="*/ 138491 w 168"/>
                <a:gd name="T73" fmla="*/ 29509 h 1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68"/>
                <a:gd name="T112" fmla="*/ 0 h 136"/>
                <a:gd name="T113" fmla="*/ 168 w 168"/>
                <a:gd name="T114" fmla="*/ 136 h 1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68" h="136">
                  <a:moveTo>
                    <a:pt x="64" y="16"/>
                  </a:moveTo>
                  <a:lnTo>
                    <a:pt x="80" y="24"/>
                  </a:lnTo>
                  <a:lnTo>
                    <a:pt x="88" y="24"/>
                  </a:lnTo>
                  <a:lnTo>
                    <a:pt x="104" y="16"/>
                  </a:lnTo>
                  <a:lnTo>
                    <a:pt x="112" y="16"/>
                  </a:lnTo>
                  <a:lnTo>
                    <a:pt x="120" y="0"/>
                  </a:lnTo>
                  <a:lnTo>
                    <a:pt x="128" y="8"/>
                  </a:lnTo>
                  <a:lnTo>
                    <a:pt x="136" y="24"/>
                  </a:lnTo>
                  <a:lnTo>
                    <a:pt x="152" y="16"/>
                  </a:lnTo>
                  <a:lnTo>
                    <a:pt x="168" y="16"/>
                  </a:lnTo>
                  <a:lnTo>
                    <a:pt x="168" y="24"/>
                  </a:lnTo>
                  <a:lnTo>
                    <a:pt x="160" y="24"/>
                  </a:lnTo>
                  <a:lnTo>
                    <a:pt x="152" y="24"/>
                  </a:lnTo>
                  <a:lnTo>
                    <a:pt x="136" y="32"/>
                  </a:lnTo>
                  <a:lnTo>
                    <a:pt x="136" y="56"/>
                  </a:lnTo>
                  <a:lnTo>
                    <a:pt x="136" y="64"/>
                  </a:lnTo>
                  <a:lnTo>
                    <a:pt x="120" y="64"/>
                  </a:lnTo>
                  <a:lnTo>
                    <a:pt x="128" y="72"/>
                  </a:lnTo>
                  <a:lnTo>
                    <a:pt x="120" y="80"/>
                  </a:lnTo>
                  <a:lnTo>
                    <a:pt x="120" y="104"/>
                  </a:lnTo>
                  <a:lnTo>
                    <a:pt x="88" y="112"/>
                  </a:lnTo>
                  <a:lnTo>
                    <a:pt x="88" y="128"/>
                  </a:lnTo>
                  <a:lnTo>
                    <a:pt x="32" y="136"/>
                  </a:lnTo>
                  <a:lnTo>
                    <a:pt x="16" y="128"/>
                  </a:lnTo>
                  <a:lnTo>
                    <a:pt x="24" y="112"/>
                  </a:lnTo>
                  <a:lnTo>
                    <a:pt x="24" y="104"/>
                  </a:lnTo>
                  <a:lnTo>
                    <a:pt x="8" y="104"/>
                  </a:lnTo>
                  <a:lnTo>
                    <a:pt x="0" y="72"/>
                  </a:lnTo>
                  <a:lnTo>
                    <a:pt x="0" y="64"/>
                  </a:lnTo>
                  <a:lnTo>
                    <a:pt x="8" y="56"/>
                  </a:lnTo>
                  <a:lnTo>
                    <a:pt x="8" y="40"/>
                  </a:lnTo>
                  <a:lnTo>
                    <a:pt x="24" y="48"/>
                  </a:lnTo>
                  <a:lnTo>
                    <a:pt x="32" y="40"/>
                  </a:lnTo>
                  <a:lnTo>
                    <a:pt x="48" y="32"/>
                  </a:lnTo>
                  <a:lnTo>
                    <a:pt x="48" y="16"/>
                  </a:lnTo>
                  <a:lnTo>
                    <a:pt x="56" y="16"/>
                  </a:lnTo>
                  <a:lnTo>
                    <a:pt x="64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7" name="Freeform 67">
              <a:extLst>
                <a:ext uri="{FF2B5EF4-FFF2-40B4-BE49-F238E27FC236}">
                  <a16:creationId xmlns:a16="http://schemas.microsoft.com/office/drawing/2014/main" id="{BC4CB57B-3A65-3F6C-27D3-41E5F706A44C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8099426" y="3498851"/>
              <a:ext cx="139700" cy="131763"/>
            </a:xfrm>
            <a:custGeom>
              <a:avLst/>
              <a:gdLst>
                <a:gd name="T0" fmla="*/ 104775 w 64"/>
                <a:gd name="T1" fmla="*/ 0 h 72"/>
                <a:gd name="T2" fmla="*/ 104775 w 64"/>
                <a:gd name="T3" fmla="*/ 14640 h 72"/>
                <a:gd name="T4" fmla="*/ 87312 w 64"/>
                <a:gd name="T5" fmla="*/ 29281 h 72"/>
                <a:gd name="T6" fmla="*/ 87312 w 64"/>
                <a:gd name="T7" fmla="*/ 43921 h 72"/>
                <a:gd name="T8" fmla="*/ 52387 w 64"/>
                <a:gd name="T9" fmla="*/ 29281 h 72"/>
                <a:gd name="T10" fmla="*/ 0 w 64"/>
                <a:gd name="T11" fmla="*/ 87842 h 72"/>
                <a:gd name="T12" fmla="*/ 52387 w 64"/>
                <a:gd name="T13" fmla="*/ 87842 h 72"/>
                <a:gd name="T14" fmla="*/ 52387 w 64"/>
                <a:gd name="T15" fmla="*/ 131763 h 72"/>
                <a:gd name="T16" fmla="*/ 104775 w 64"/>
                <a:gd name="T17" fmla="*/ 131763 h 72"/>
                <a:gd name="T18" fmla="*/ 122237 w 64"/>
                <a:gd name="T19" fmla="*/ 131763 h 72"/>
                <a:gd name="T20" fmla="*/ 139700 w 64"/>
                <a:gd name="T21" fmla="*/ 117123 h 72"/>
                <a:gd name="T22" fmla="*/ 104775 w 64"/>
                <a:gd name="T23" fmla="*/ 102482 h 72"/>
                <a:gd name="T24" fmla="*/ 87312 w 64"/>
                <a:gd name="T25" fmla="*/ 73202 h 72"/>
                <a:gd name="T26" fmla="*/ 139700 w 64"/>
                <a:gd name="T27" fmla="*/ 58561 h 72"/>
                <a:gd name="T28" fmla="*/ 122237 w 64"/>
                <a:gd name="T29" fmla="*/ 29281 h 72"/>
                <a:gd name="T30" fmla="*/ 139700 w 64"/>
                <a:gd name="T31" fmla="*/ 0 h 72"/>
                <a:gd name="T32" fmla="*/ 104775 w 64"/>
                <a:gd name="T33" fmla="*/ 0 h 7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"/>
                <a:gd name="T52" fmla="*/ 0 h 72"/>
                <a:gd name="T53" fmla="*/ 64 w 64"/>
                <a:gd name="T54" fmla="*/ 72 h 7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" h="72">
                  <a:moveTo>
                    <a:pt x="48" y="0"/>
                  </a:moveTo>
                  <a:lnTo>
                    <a:pt x="48" y="8"/>
                  </a:lnTo>
                  <a:lnTo>
                    <a:pt x="40" y="16"/>
                  </a:lnTo>
                  <a:lnTo>
                    <a:pt x="40" y="24"/>
                  </a:lnTo>
                  <a:lnTo>
                    <a:pt x="24" y="16"/>
                  </a:lnTo>
                  <a:lnTo>
                    <a:pt x="0" y="48"/>
                  </a:lnTo>
                  <a:lnTo>
                    <a:pt x="24" y="48"/>
                  </a:lnTo>
                  <a:lnTo>
                    <a:pt x="24" y="72"/>
                  </a:lnTo>
                  <a:lnTo>
                    <a:pt x="48" y="72"/>
                  </a:lnTo>
                  <a:lnTo>
                    <a:pt x="56" y="72"/>
                  </a:lnTo>
                  <a:lnTo>
                    <a:pt x="64" y="64"/>
                  </a:lnTo>
                  <a:lnTo>
                    <a:pt x="48" y="56"/>
                  </a:lnTo>
                  <a:lnTo>
                    <a:pt x="40" y="40"/>
                  </a:lnTo>
                  <a:lnTo>
                    <a:pt x="64" y="32"/>
                  </a:lnTo>
                  <a:lnTo>
                    <a:pt x="56" y="16"/>
                  </a:lnTo>
                  <a:lnTo>
                    <a:pt x="64" y="0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8" name="Freeform 68">
              <a:extLst>
                <a:ext uri="{FF2B5EF4-FFF2-40B4-BE49-F238E27FC236}">
                  <a16:creationId xmlns:a16="http://schemas.microsoft.com/office/drawing/2014/main" id="{7ED926FB-EB72-2D68-DCF4-BF1DC89372E4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8204201" y="3616326"/>
              <a:ext cx="103188" cy="117475"/>
            </a:xfrm>
            <a:custGeom>
              <a:avLst/>
              <a:gdLst>
                <a:gd name="T0" fmla="*/ 0 w 48"/>
                <a:gd name="T1" fmla="*/ 14684 h 64"/>
                <a:gd name="T2" fmla="*/ 17198 w 48"/>
                <a:gd name="T3" fmla="*/ 14684 h 64"/>
                <a:gd name="T4" fmla="*/ 34396 w 48"/>
                <a:gd name="T5" fmla="*/ 0 h 64"/>
                <a:gd name="T6" fmla="*/ 68792 w 48"/>
                <a:gd name="T7" fmla="*/ 29369 h 64"/>
                <a:gd name="T8" fmla="*/ 103188 w 48"/>
                <a:gd name="T9" fmla="*/ 73422 h 64"/>
                <a:gd name="T10" fmla="*/ 103188 w 48"/>
                <a:gd name="T11" fmla="*/ 88106 h 64"/>
                <a:gd name="T12" fmla="*/ 51594 w 48"/>
                <a:gd name="T13" fmla="*/ 117475 h 64"/>
                <a:gd name="T14" fmla="*/ 17198 w 48"/>
                <a:gd name="T15" fmla="*/ 88106 h 64"/>
                <a:gd name="T16" fmla="*/ 34396 w 48"/>
                <a:gd name="T17" fmla="*/ 73422 h 64"/>
                <a:gd name="T18" fmla="*/ 0 w 48"/>
                <a:gd name="T19" fmla="*/ 44053 h 64"/>
                <a:gd name="T20" fmla="*/ 17198 w 48"/>
                <a:gd name="T21" fmla="*/ 44053 h 64"/>
                <a:gd name="T22" fmla="*/ 0 w 48"/>
                <a:gd name="T23" fmla="*/ 29369 h 64"/>
                <a:gd name="T24" fmla="*/ 0 w 48"/>
                <a:gd name="T25" fmla="*/ 14684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"/>
                <a:gd name="T40" fmla="*/ 0 h 64"/>
                <a:gd name="T41" fmla="*/ 48 w 48"/>
                <a:gd name="T42" fmla="*/ 64 h 6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" h="64">
                  <a:moveTo>
                    <a:pt x="0" y="8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32" y="16"/>
                  </a:lnTo>
                  <a:lnTo>
                    <a:pt x="48" y="40"/>
                  </a:lnTo>
                  <a:lnTo>
                    <a:pt x="48" y="48"/>
                  </a:lnTo>
                  <a:lnTo>
                    <a:pt x="24" y="64"/>
                  </a:lnTo>
                  <a:lnTo>
                    <a:pt x="8" y="48"/>
                  </a:lnTo>
                  <a:lnTo>
                    <a:pt x="16" y="40"/>
                  </a:lnTo>
                  <a:lnTo>
                    <a:pt x="0" y="24"/>
                  </a:lnTo>
                  <a:lnTo>
                    <a:pt x="8" y="24"/>
                  </a:lnTo>
                  <a:lnTo>
                    <a:pt x="0" y="1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9" name="Freeform 69">
              <a:extLst>
                <a:ext uri="{FF2B5EF4-FFF2-40B4-BE49-F238E27FC236}">
                  <a16:creationId xmlns:a16="http://schemas.microsoft.com/office/drawing/2014/main" id="{F6D53E94-B5D1-003D-48DB-EA4206CE803B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027863" y="3248026"/>
              <a:ext cx="830263" cy="279400"/>
            </a:xfrm>
            <a:custGeom>
              <a:avLst/>
              <a:gdLst>
                <a:gd name="T0" fmla="*/ 691886 w 384"/>
                <a:gd name="T1" fmla="*/ 73526 h 152"/>
                <a:gd name="T2" fmla="*/ 726480 w 384"/>
                <a:gd name="T3" fmla="*/ 117642 h 152"/>
                <a:gd name="T4" fmla="*/ 761074 w 384"/>
                <a:gd name="T5" fmla="*/ 117642 h 152"/>
                <a:gd name="T6" fmla="*/ 795669 w 384"/>
                <a:gd name="T7" fmla="*/ 102937 h 152"/>
                <a:gd name="T8" fmla="*/ 812966 w 384"/>
                <a:gd name="T9" fmla="*/ 117642 h 152"/>
                <a:gd name="T10" fmla="*/ 830263 w 384"/>
                <a:gd name="T11" fmla="*/ 147053 h 152"/>
                <a:gd name="T12" fmla="*/ 778372 w 384"/>
                <a:gd name="T13" fmla="*/ 147053 h 152"/>
                <a:gd name="T14" fmla="*/ 761074 w 384"/>
                <a:gd name="T15" fmla="*/ 161758 h 152"/>
                <a:gd name="T16" fmla="*/ 743777 w 384"/>
                <a:gd name="T17" fmla="*/ 176463 h 152"/>
                <a:gd name="T18" fmla="*/ 726480 w 384"/>
                <a:gd name="T19" fmla="*/ 191168 h 152"/>
                <a:gd name="T20" fmla="*/ 691886 w 384"/>
                <a:gd name="T21" fmla="*/ 191168 h 152"/>
                <a:gd name="T22" fmla="*/ 674589 w 384"/>
                <a:gd name="T23" fmla="*/ 205874 h 152"/>
                <a:gd name="T24" fmla="*/ 691886 w 384"/>
                <a:gd name="T25" fmla="*/ 220579 h 152"/>
                <a:gd name="T26" fmla="*/ 657292 w 384"/>
                <a:gd name="T27" fmla="*/ 249989 h 152"/>
                <a:gd name="T28" fmla="*/ 605400 w 384"/>
                <a:gd name="T29" fmla="*/ 264695 h 152"/>
                <a:gd name="T30" fmla="*/ 536211 w 384"/>
                <a:gd name="T31" fmla="*/ 279400 h 152"/>
                <a:gd name="T32" fmla="*/ 415132 w 384"/>
                <a:gd name="T33" fmla="*/ 249989 h 152"/>
                <a:gd name="T34" fmla="*/ 311349 w 384"/>
                <a:gd name="T35" fmla="*/ 249989 h 152"/>
                <a:gd name="T36" fmla="*/ 242160 w 384"/>
                <a:gd name="T37" fmla="*/ 205874 h 152"/>
                <a:gd name="T38" fmla="*/ 121080 w 384"/>
                <a:gd name="T39" fmla="*/ 176463 h 152"/>
                <a:gd name="T40" fmla="*/ 103783 w 384"/>
                <a:gd name="T41" fmla="*/ 132347 h 152"/>
                <a:gd name="T42" fmla="*/ 69189 w 384"/>
                <a:gd name="T43" fmla="*/ 117642 h 152"/>
                <a:gd name="T44" fmla="*/ 34594 w 384"/>
                <a:gd name="T45" fmla="*/ 102937 h 152"/>
                <a:gd name="T46" fmla="*/ 0 w 384"/>
                <a:gd name="T47" fmla="*/ 73526 h 152"/>
                <a:gd name="T48" fmla="*/ 86486 w 384"/>
                <a:gd name="T49" fmla="*/ 29411 h 152"/>
                <a:gd name="T50" fmla="*/ 138377 w 384"/>
                <a:gd name="T51" fmla="*/ 44116 h 152"/>
                <a:gd name="T52" fmla="*/ 172971 w 384"/>
                <a:gd name="T53" fmla="*/ 58821 h 152"/>
                <a:gd name="T54" fmla="*/ 242160 w 384"/>
                <a:gd name="T55" fmla="*/ 58821 h 152"/>
                <a:gd name="T56" fmla="*/ 242160 w 384"/>
                <a:gd name="T57" fmla="*/ 29411 h 152"/>
                <a:gd name="T58" fmla="*/ 224863 w 384"/>
                <a:gd name="T59" fmla="*/ 14705 h 152"/>
                <a:gd name="T60" fmla="*/ 242160 w 384"/>
                <a:gd name="T61" fmla="*/ 0 h 152"/>
                <a:gd name="T62" fmla="*/ 311349 w 384"/>
                <a:gd name="T63" fmla="*/ 14705 h 152"/>
                <a:gd name="T64" fmla="*/ 363240 w 384"/>
                <a:gd name="T65" fmla="*/ 44116 h 152"/>
                <a:gd name="T66" fmla="*/ 432429 w 384"/>
                <a:gd name="T67" fmla="*/ 44116 h 152"/>
                <a:gd name="T68" fmla="*/ 553509 w 384"/>
                <a:gd name="T69" fmla="*/ 73526 h 152"/>
                <a:gd name="T70" fmla="*/ 622697 w 384"/>
                <a:gd name="T71" fmla="*/ 58821 h 152"/>
                <a:gd name="T72" fmla="*/ 657292 w 384"/>
                <a:gd name="T73" fmla="*/ 44116 h 152"/>
                <a:gd name="T74" fmla="*/ 709183 w 384"/>
                <a:gd name="T75" fmla="*/ 58821 h 152"/>
                <a:gd name="T76" fmla="*/ 691886 w 384"/>
                <a:gd name="T77" fmla="*/ 73526 h 15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84"/>
                <a:gd name="T118" fmla="*/ 0 h 152"/>
                <a:gd name="T119" fmla="*/ 384 w 384"/>
                <a:gd name="T120" fmla="*/ 152 h 15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84" h="152">
                  <a:moveTo>
                    <a:pt x="320" y="40"/>
                  </a:moveTo>
                  <a:lnTo>
                    <a:pt x="336" y="64"/>
                  </a:lnTo>
                  <a:lnTo>
                    <a:pt x="352" y="64"/>
                  </a:lnTo>
                  <a:lnTo>
                    <a:pt x="368" y="56"/>
                  </a:lnTo>
                  <a:lnTo>
                    <a:pt x="376" y="64"/>
                  </a:lnTo>
                  <a:lnTo>
                    <a:pt x="384" y="80"/>
                  </a:lnTo>
                  <a:lnTo>
                    <a:pt x="360" y="80"/>
                  </a:lnTo>
                  <a:lnTo>
                    <a:pt x="352" y="88"/>
                  </a:lnTo>
                  <a:lnTo>
                    <a:pt x="344" y="96"/>
                  </a:lnTo>
                  <a:lnTo>
                    <a:pt x="336" y="104"/>
                  </a:lnTo>
                  <a:lnTo>
                    <a:pt x="320" y="104"/>
                  </a:lnTo>
                  <a:lnTo>
                    <a:pt x="312" y="112"/>
                  </a:lnTo>
                  <a:lnTo>
                    <a:pt x="320" y="120"/>
                  </a:lnTo>
                  <a:lnTo>
                    <a:pt x="304" y="136"/>
                  </a:lnTo>
                  <a:lnTo>
                    <a:pt x="280" y="144"/>
                  </a:lnTo>
                  <a:lnTo>
                    <a:pt x="248" y="152"/>
                  </a:lnTo>
                  <a:lnTo>
                    <a:pt x="192" y="136"/>
                  </a:lnTo>
                  <a:lnTo>
                    <a:pt x="144" y="136"/>
                  </a:lnTo>
                  <a:lnTo>
                    <a:pt x="112" y="112"/>
                  </a:lnTo>
                  <a:lnTo>
                    <a:pt x="56" y="96"/>
                  </a:lnTo>
                  <a:lnTo>
                    <a:pt x="48" y="72"/>
                  </a:lnTo>
                  <a:lnTo>
                    <a:pt x="32" y="64"/>
                  </a:lnTo>
                  <a:lnTo>
                    <a:pt x="16" y="56"/>
                  </a:lnTo>
                  <a:lnTo>
                    <a:pt x="0" y="40"/>
                  </a:lnTo>
                  <a:lnTo>
                    <a:pt x="40" y="16"/>
                  </a:lnTo>
                  <a:lnTo>
                    <a:pt x="64" y="24"/>
                  </a:lnTo>
                  <a:lnTo>
                    <a:pt x="80" y="32"/>
                  </a:lnTo>
                  <a:lnTo>
                    <a:pt x="112" y="32"/>
                  </a:lnTo>
                  <a:lnTo>
                    <a:pt x="112" y="16"/>
                  </a:lnTo>
                  <a:lnTo>
                    <a:pt x="104" y="8"/>
                  </a:lnTo>
                  <a:lnTo>
                    <a:pt x="112" y="0"/>
                  </a:lnTo>
                  <a:lnTo>
                    <a:pt x="144" y="8"/>
                  </a:lnTo>
                  <a:lnTo>
                    <a:pt x="168" y="24"/>
                  </a:lnTo>
                  <a:lnTo>
                    <a:pt x="200" y="24"/>
                  </a:lnTo>
                  <a:lnTo>
                    <a:pt x="256" y="40"/>
                  </a:lnTo>
                  <a:lnTo>
                    <a:pt x="288" y="32"/>
                  </a:lnTo>
                  <a:lnTo>
                    <a:pt x="304" y="24"/>
                  </a:lnTo>
                  <a:lnTo>
                    <a:pt x="328" y="32"/>
                  </a:lnTo>
                  <a:lnTo>
                    <a:pt x="320" y="4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0" name="Freeform 70">
              <a:extLst>
                <a:ext uri="{FF2B5EF4-FFF2-40B4-BE49-F238E27FC236}">
                  <a16:creationId xmlns:a16="http://schemas.microsoft.com/office/drawing/2014/main" id="{7D6FA1D7-0A58-A78C-33D4-BCA5877546C1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5489576" y="3513138"/>
              <a:ext cx="517525" cy="176213"/>
            </a:xfrm>
            <a:custGeom>
              <a:avLst/>
              <a:gdLst>
                <a:gd name="T0" fmla="*/ 448522 w 240"/>
                <a:gd name="T1" fmla="*/ 29369 h 96"/>
                <a:gd name="T2" fmla="*/ 448522 w 240"/>
                <a:gd name="T3" fmla="*/ 14684 h 96"/>
                <a:gd name="T4" fmla="*/ 414020 w 240"/>
                <a:gd name="T5" fmla="*/ 14684 h 96"/>
                <a:gd name="T6" fmla="*/ 362268 w 240"/>
                <a:gd name="T7" fmla="*/ 29369 h 96"/>
                <a:gd name="T8" fmla="*/ 293264 w 240"/>
                <a:gd name="T9" fmla="*/ 29369 h 96"/>
                <a:gd name="T10" fmla="*/ 224261 w 240"/>
                <a:gd name="T11" fmla="*/ 0 h 96"/>
                <a:gd name="T12" fmla="*/ 189759 w 240"/>
                <a:gd name="T13" fmla="*/ 0 h 96"/>
                <a:gd name="T14" fmla="*/ 138007 w 240"/>
                <a:gd name="T15" fmla="*/ 29369 h 96"/>
                <a:gd name="T16" fmla="*/ 103505 w 240"/>
                <a:gd name="T17" fmla="*/ 29369 h 96"/>
                <a:gd name="T18" fmla="*/ 69003 w 240"/>
                <a:gd name="T19" fmla="*/ 29369 h 96"/>
                <a:gd name="T20" fmla="*/ 51753 w 240"/>
                <a:gd name="T21" fmla="*/ 14684 h 96"/>
                <a:gd name="T22" fmla="*/ 0 w 240"/>
                <a:gd name="T23" fmla="*/ 14684 h 96"/>
                <a:gd name="T24" fmla="*/ 0 w 240"/>
                <a:gd name="T25" fmla="*/ 44053 h 96"/>
                <a:gd name="T26" fmla="*/ 17251 w 240"/>
                <a:gd name="T27" fmla="*/ 44053 h 96"/>
                <a:gd name="T28" fmla="*/ 0 w 240"/>
                <a:gd name="T29" fmla="*/ 58738 h 96"/>
                <a:gd name="T30" fmla="*/ 34502 w 240"/>
                <a:gd name="T31" fmla="*/ 29369 h 96"/>
                <a:gd name="T32" fmla="*/ 69003 w 240"/>
                <a:gd name="T33" fmla="*/ 29369 h 96"/>
                <a:gd name="T34" fmla="*/ 86254 w 240"/>
                <a:gd name="T35" fmla="*/ 44053 h 96"/>
                <a:gd name="T36" fmla="*/ 69003 w 240"/>
                <a:gd name="T37" fmla="*/ 44053 h 96"/>
                <a:gd name="T38" fmla="*/ 86254 w 240"/>
                <a:gd name="T39" fmla="*/ 58738 h 96"/>
                <a:gd name="T40" fmla="*/ 17251 w 240"/>
                <a:gd name="T41" fmla="*/ 58738 h 96"/>
                <a:gd name="T42" fmla="*/ 0 w 240"/>
                <a:gd name="T43" fmla="*/ 58738 h 96"/>
                <a:gd name="T44" fmla="*/ 0 w 240"/>
                <a:gd name="T45" fmla="*/ 73422 h 96"/>
                <a:gd name="T46" fmla="*/ 17251 w 240"/>
                <a:gd name="T47" fmla="*/ 73422 h 96"/>
                <a:gd name="T48" fmla="*/ 34502 w 240"/>
                <a:gd name="T49" fmla="*/ 102791 h 96"/>
                <a:gd name="T50" fmla="*/ 17251 w 240"/>
                <a:gd name="T51" fmla="*/ 102791 h 96"/>
                <a:gd name="T52" fmla="*/ 34502 w 240"/>
                <a:gd name="T53" fmla="*/ 117475 h 96"/>
                <a:gd name="T54" fmla="*/ 34502 w 240"/>
                <a:gd name="T55" fmla="*/ 132160 h 96"/>
                <a:gd name="T56" fmla="*/ 51753 w 240"/>
                <a:gd name="T57" fmla="*/ 132160 h 96"/>
                <a:gd name="T58" fmla="*/ 34502 w 240"/>
                <a:gd name="T59" fmla="*/ 146844 h 96"/>
                <a:gd name="T60" fmla="*/ 69003 w 240"/>
                <a:gd name="T61" fmla="*/ 146844 h 96"/>
                <a:gd name="T62" fmla="*/ 51753 w 240"/>
                <a:gd name="T63" fmla="*/ 146844 h 96"/>
                <a:gd name="T64" fmla="*/ 103505 w 240"/>
                <a:gd name="T65" fmla="*/ 161529 h 96"/>
                <a:gd name="T66" fmla="*/ 120756 w 240"/>
                <a:gd name="T67" fmla="*/ 161529 h 96"/>
                <a:gd name="T68" fmla="*/ 138007 w 240"/>
                <a:gd name="T69" fmla="*/ 146844 h 96"/>
                <a:gd name="T70" fmla="*/ 155258 w 240"/>
                <a:gd name="T71" fmla="*/ 146844 h 96"/>
                <a:gd name="T72" fmla="*/ 189759 w 240"/>
                <a:gd name="T73" fmla="*/ 176213 h 96"/>
                <a:gd name="T74" fmla="*/ 207010 w 240"/>
                <a:gd name="T75" fmla="*/ 161529 h 96"/>
                <a:gd name="T76" fmla="*/ 241512 w 240"/>
                <a:gd name="T77" fmla="*/ 146844 h 96"/>
                <a:gd name="T78" fmla="*/ 258762 w 240"/>
                <a:gd name="T79" fmla="*/ 161529 h 96"/>
                <a:gd name="T80" fmla="*/ 276013 w 240"/>
                <a:gd name="T81" fmla="*/ 146844 h 96"/>
                <a:gd name="T82" fmla="*/ 276013 w 240"/>
                <a:gd name="T83" fmla="*/ 176213 h 96"/>
                <a:gd name="T84" fmla="*/ 293264 w 240"/>
                <a:gd name="T85" fmla="*/ 161529 h 96"/>
                <a:gd name="T86" fmla="*/ 293264 w 240"/>
                <a:gd name="T87" fmla="*/ 146844 h 96"/>
                <a:gd name="T88" fmla="*/ 345017 w 240"/>
                <a:gd name="T89" fmla="*/ 146844 h 96"/>
                <a:gd name="T90" fmla="*/ 362268 w 240"/>
                <a:gd name="T91" fmla="*/ 146844 h 96"/>
                <a:gd name="T92" fmla="*/ 396769 w 240"/>
                <a:gd name="T93" fmla="*/ 146844 h 96"/>
                <a:gd name="T94" fmla="*/ 448522 w 240"/>
                <a:gd name="T95" fmla="*/ 132160 h 96"/>
                <a:gd name="T96" fmla="*/ 465773 w 240"/>
                <a:gd name="T97" fmla="*/ 132160 h 96"/>
                <a:gd name="T98" fmla="*/ 517525 w 240"/>
                <a:gd name="T99" fmla="*/ 132160 h 96"/>
                <a:gd name="T100" fmla="*/ 483023 w 240"/>
                <a:gd name="T101" fmla="*/ 73422 h 96"/>
                <a:gd name="T102" fmla="*/ 500274 w 240"/>
                <a:gd name="T103" fmla="*/ 58738 h 96"/>
                <a:gd name="T104" fmla="*/ 465773 w 240"/>
                <a:gd name="T105" fmla="*/ 58738 h 96"/>
                <a:gd name="T106" fmla="*/ 448522 w 240"/>
                <a:gd name="T107" fmla="*/ 29369 h 9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40"/>
                <a:gd name="T163" fmla="*/ 0 h 96"/>
                <a:gd name="T164" fmla="*/ 240 w 240"/>
                <a:gd name="T165" fmla="*/ 96 h 9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40" h="96">
                  <a:moveTo>
                    <a:pt x="208" y="16"/>
                  </a:moveTo>
                  <a:lnTo>
                    <a:pt x="208" y="8"/>
                  </a:lnTo>
                  <a:lnTo>
                    <a:pt x="192" y="8"/>
                  </a:lnTo>
                  <a:lnTo>
                    <a:pt x="168" y="16"/>
                  </a:lnTo>
                  <a:lnTo>
                    <a:pt x="136" y="16"/>
                  </a:lnTo>
                  <a:lnTo>
                    <a:pt x="104" y="0"/>
                  </a:lnTo>
                  <a:lnTo>
                    <a:pt x="88" y="0"/>
                  </a:lnTo>
                  <a:lnTo>
                    <a:pt x="64" y="16"/>
                  </a:lnTo>
                  <a:lnTo>
                    <a:pt x="48" y="16"/>
                  </a:lnTo>
                  <a:lnTo>
                    <a:pt x="32" y="16"/>
                  </a:lnTo>
                  <a:lnTo>
                    <a:pt x="24" y="8"/>
                  </a:lnTo>
                  <a:lnTo>
                    <a:pt x="0" y="8"/>
                  </a:lnTo>
                  <a:lnTo>
                    <a:pt x="0" y="24"/>
                  </a:lnTo>
                  <a:lnTo>
                    <a:pt x="8" y="24"/>
                  </a:lnTo>
                  <a:lnTo>
                    <a:pt x="0" y="32"/>
                  </a:lnTo>
                  <a:lnTo>
                    <a:pt x="16" y="16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32" y="24"/>
                  </a:lnTo>
                  <a:lnTo>
                    <a:pt x="40" y="32"/>
                  </a:lnTo>
                  <a:lnTo>
                    <a:pt x="8" y="32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8" y="40"/>
                  </a:lnTo>
                  <a:lnTo>
                    <a:pt x="16" y="56"/>
                  </a:lnTo>
                  <a:lnTo>
                    <a:pt x="8" y="56"/>
                  </a:lnTo>
                  <a:lnTo>
                    <a:pt x="16" y="64"/>
                  </a:lnTo>
                  <a:lnTo>
                    <a:pt x="16" y="72"/>
                  </a:lnTo>
                  <a:lnTo>
                    <a:pt x="24" y="72"/>
                  </a:lnTo>
                  <a:lnTo>
                    <a:pt x="16" y="80"/>
                  </a:lnTo>
                  <a:lnTo>
                    <a:pt x="32" y="80"/>
                  </a:lnTo>
                  <a:lnTo>
                    <a:pt x="24" y="80"/>
                  </a:lnTo>
                  <a:lnTo>
                    <a:pt x="48" y="88"/>
                  </a:lnTo>
                  <a:lnTo>
                    <a:pt x="56" y="88"/>
                  </a:lnTo>
                  <a:lnTo>
                    <a:pt x="64" y="80"/>
                  </a:lnTo>
                  <a:lnTo>
                    <a:pt x="72" y="80"/>
                  </a:lnTo>
                  <a:lnTo>
                    <a:pt x="88" y="96"/>
                  </a:lnTo>
                  <a:lnTo>
                    <a:pt x="96" y="88"/>
                  </a:lnTo>
                  <a:lnTo>
                    <a:pt x="112" y="80"/>
                  </a:lnTo>
                  <a:lnTo>
                    <a:pt x="120" y="88"/>
                  </a:lnTo>
                  <a:lnTo>
                    <a:pt x="128" y="80"/>
                  </a:lnTo>
                  <a:lnTo>
                    <a:pt x="128" y="96"/>
                  </a:lnTo>
                  <a:lnTo>
                    <a:pt x="136" y="88"/>
                  </a:lnTo>
                  <a:lnTo>
                    <a:pt x="136" y="80"/>
                  </a:lnTo>
                  <a:lnTo>
                    <a:pt x="160" y="80"/>
                  </a:lnTo>
                  <a:lnTo>
                    <a:pt x="168" y="80"/>
                  </a:lnTo>
                  <a:lnTo>
                    <a:pt x="184" y="80"/>
                  </a:lnTo>
                  <a:lnTo>
                    <a:pt x="208" y="72"/>
                  </a:lnTo>
                  <a:lnTo>
                    <a:pt x="216" y="72"/>
                  </a:lnTo>
                  <a:lnTo>
                    <a:pt x="240" y="72"/>
                  </a:lnTo>
                  <a:lnTo>
                    <a:pt x="224" y="40"/>
                  </a:lnTo>
                  <a:lnTo>
                    <a:pt x="232" y="32"/>
                  </a:lnTo>
                  <a:lnTo>
                    <a:pt x="216" y="32"/>
                  </a:lnTo>
                  <a:lnTo>
                    <a:pt x="208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1" name="Freeform 71">
              <a:extLst>
                <a:ext uri="{FF2B5EF4-FFF2-40B4-BE49-F238E27FC236}">
                  <a16:creationId xmlns:a16="http://schemas.microsoft.com/office/drawing/2014/main" id="{62E89B63-2DB9-2C32-364D-1E8EAC54FDC9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5765801" y="3646488"/>
              <a:ext cx="173038" cy="147638"/>
            </a:xfrm>
            <a:custGeom>
              <a:avLst/>
              <a:gdLst>
                <a:gd name="T0" fmla="*/ 173038 w 80"/>
                <a:gd name="T1" fmla="*/ 0 h 80"/>
                <a:gd name="T2" fmla="*/ 121127 w 80"/>
                <a:gd name="T3" fmla="*/ 14764 h 80"/>
                <a:gd name="T4" fmla="*/ 86519 w 80"/>
                <a:gd name="T5" fmla="*/ 14764 h 80"/>
                <a:gd name="T6" fmla="*/ 69215 w 80"/>
                <a:gd name="T7" fmla="*/ 14764 h 80"/>
                <a:gd name="T8" fmla="*/ 17304 w 80"/>
                <a:gd name="T9" fmla="*/ 14764 h 80"/>
                <a:gd name="T10" fmla="*/ 17304 w 80"/>
                <a:gd name="T11" fmla="*/ 29528 h 80"/>
                <a:gd name="T12" fmla="*/ 0 w 80"/>
                <a:gd name="T13" fmla="*/ 44291 h 80"/>
                <a:gd name="T14" fmla="*/ 0 w 80"/>
                <a:gd name="T15" fmla="*/ 88583 h 80"/>
                <a:gd name="T16" fmla="*/ 17304 w 80"/>
                <a:gd name="T17" fmla="*/ 88583 h 80"/>
                <a:gd name="T18" fmla="*/ 0 w 80"/>
                <a:gd name="T19" fmla="*/ 118110 h 80"/>
                <a:gd name="T20" fmla="*/ 0 w 80"/>
                <a:gd name="T21" fmla="*/ 132874 h 80"/>
                <a:gd name="T22" fmla="*/ 17304 w 80"/>
                <a:gd name="T23" fmla="*/ 147638 h 80"/>
                <a:gd name="T24" fmla="*/ 86519 w 80"/>
                <a:gd name="T25" fmla="*/ 118110 h 80"/>
                <a:gd name="T26" fmla="*/ 138430 w 80"/>
                <a:gd name="T27" fmla="*/ 88583 h 80"/>
                <a:gd name="T28" fmla="*/ 138430 w 80"/>
                <a:gd name="T29" fmla="*/ 29528 h 80"/>
                <a:gd name="T30" fmla="*/ 173038 w 80"/>
                <a:gd name="T31" fmla="*/ 0 h 8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0"/>
                <a:gd name="T49" fmla="*/ 0 h 80"/>
                <a:gd name="T50" fmla="*/ 80 w 80"/>
                <a:gd name="T51" fmla="*/ 80 h 8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0" h="80">
                  <a:moveTo>
                    <a:pt x="80" y="0"/>
                  </a:moveTo>
                  <a:lnTo>
                    <a:pt x="56" y="8"/>
                  </a:lnTo>
                  <a:lnTo>
                    <a:pt x="40" y="8"/>
                  </a:lnTo>
                  <a:lnTo>
                    <a:pt x="32" y="8"/>
                  </a:lnTo>
                  <a:lnTo>
                    <a:pt x="8" y="8"/>
                  </a:lnTo>
                  <a:lnTo>
                    <a:pt x="8" y="16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8" y="48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8" y="80"/>
                  </a:lnTo>
                  <a:lnTo>
                    <a:pt x="40" y="64"/>
                  </a:lnTo>
                  <a:lnTo>
                    <a:pt x="64" y="48"/>
                  </a:lnTo>
                  <a:lnTo>
                    <a:pt x="64" y="16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2" name="Freeform 72">
              <a:extLst>
                <a:ext uri="{FF2B5EF4-FFF2-40B4-BE49-F238E27FC236}">
                  <a16:creationId xmlns:a16="http://schemas.microsoft.com/office/drawing/2014/main" id="{C16A4F77-8261-E540-8E69-A43EEC7C0AE7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5748338" y="3763963"/>
              <a:ext cx="120650" cy="103188"/>
            </a:xfrm>
            <a:custGeom>
              <a:avLst/>
              <a:gdLst>
                <a:gd name="T0" fmla="*/ 17236 w 56"/>
                <a:gd name="T1" fmla="*/ 14741 h 56"/>
                <a:gd name="T2" fmla="*/ 34471 w 56"/>
                <a:gd name="T3" fmla="*/ 29482 h 56"/>
                <a:gd name="T4" fmla="*/ 103414 w 56"/>
                <a:gd name="T5" fmla="*/ 0 h 56"/>
                <a:gd name="T6" fmla="*/ 120650 w 56"/>
                <a:gd name="T7" fmla="*/ 29482 h 56"/>
                <a:gd name="T8" fmla="*/ 51707 w 56"/>
                <a:gd name="T9" fmla="*/ 44223 h 56"/>
                <a:gd name="T10" fmla="*/ 86179 w 56"/>
                <a:gd name="T11" fmla="*/ 73706 h 56"/>
                <a:gd name="T12" fmla="*/ 68943 w 56"/>
                <a:gd name="T13" fmla="*/ 88447 h 56"/>
                <a:gd name="T14" fmla="*/ 51707 w 56"/>
                <a:gd name="T15" fmla="*/ 88447 h 56"/>
                <a:gd name="T16" fmla="*/ 34471 w 56"/>
                <a:gd name="T17" fmla="*/ 103188 h 56"/>
                <a:gd name="T18" fmla="*/ 0 w 56"/>
                <a:gd name="T19" fmla="*/ 103188 h 56"/>
                <a:gd name="T20" fmla="*/ 17236 w 56"/>
                <a:gd name="T21" fmla="*/ 58965 h 56"/>
                <a:gd name="T22" fmla="*/ 0 w 56"/>
                <a:gd name="T23" fmla="*/ 29482 h 56"/>
                <a:gd name="T24" fmla="*/ 17236 w 56"/>
                <a:gd name="T25" fmla="*/ 14741 h 5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6"/>
                <a:gd name="T40" fmla="*/ 0 h 56"/>
                <a:gd name="T41" fmla="*/ 56 w 56"/>
                <a:gd name="T42" fmla="*/ 56 h 5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6" h="56">
                  <a:moveTo>
                    <a:pt x="8" y="8"/>
                  </a:moveTo>
                  <a:lnTo>
                    <a:pt x="16" y="16"/>
                  </a:lnTo>
                  <a:lnTo>
                    <a:pt x="48" y="0"/>
                  </a:lnTo>
                  <a:lnTo>
                    <a:pt x="56" y="16"/>
                  </a:lnTo>
                  <a:lnTo>
                    <a:pt x="24" y="24"/>
                  </a:lnTo>
                  <a:lnTo>
                    <a:pt x="40" y="40"/>
                  </a:lnTo>
                  <a:lnTo>
                    <a:pt x="32" y="48"/>
                  </a:lnTo>
                  <a:lnTo>
                    <a:pt x="24" y="48"/>
                  </a:lnTo>
                  <a:lnTo>
                    <a:pt x="16" y="56"/>
                  </a:lnTo>
                  <a:lnTo>
                    <a:pt x="0" y="56"/>
                  </a:lnTo>
                  <a:lnTo>
                    <a:pt x="8" y="32"/>
                  </a:lnTo>
                  <a:lnTo>
                    <a:pt x="0" y="16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3" name="Freeform 73">
              <a:extLst>
                <a:ext uri="{FF2B5EF4-FFF2-40B4-BE49-F238E27FC236}">
                  <a16:creationId xmlns:a16="http://schemas.microsoft.com/office/drawing/2014/main" id="{5A6FF57E-155B-C639-35FC-EB72A0F909BB}"/>
                </a:ext>
              </a:extLst>
            </p:cNvPr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5851526" y="3646488"/>
              <a:ext cx="277813" cy="234950"/>
            </a:xfrm>
            <a:custGeom>
              <a:avLst/>
              <a:gdLst>
                <a:gd name="T0" fmla="*/ 156270 w 10000"/>
                <a:gd name="T1" fmla="*/ 0 h 10000"/>
                <a:gd name="T2" fmla="*/ 190996 w 10000"/>
                <a:gd name="T3" fmla="*/ 58738 h 10000"/>
                <a:gd name="T4" fmla="*/ 173633 w 10000"/>
                <a:gd name="T5" fmla="*/ 88106 h 10000"/>
                <a:gd name="T6" fmla="*/ 190996 w 10000"/>
                <a:gd name="T7" fmla="*/ 117475 h 10000"/>
                <a:gd name="T8" fmla="*/ 243086 w 10000"/>
                <a:gd name="T9" fmla="*/ 132159 h 10000"/>
                <a:gd name="T10" fmla="*/ 243086 w 10000"/>
                <a:gd name="T11" fmla="*/ 176212 h 10000"/>
                <a:gd name="T12" fmla="*/ 277813 w 10000"/>
                <a:gd name="T13" fmla="*/ 205581 h 10000"/>
                <a:gd name="T14" fmla="*/ 243086 w 10000"/>
                <a:gd name="T15" fmla="*/ 205581 h 10000"/>
                <a:gd name="T16" fmla="*/ 225723 w 10000"/>
                <a:gd name="T17" fmla="*/ 234950 h 10000"/>
                <a:gd name="T18" fmla="*/ 173633 w 10000"/>
                <a:gd name="T19" fmla="*/ 234950 h 10000"/>
                <a:gd name="T20" fmla="*/ 138907 w 10000"/>
                <a:gd name="T21" fmla="*/ 220266 h 10000"/>
                <a:gd name="T22" fmla="*/ 138907 w 10000"/>
                <a:gd name="T23" fmla="*/ 190897 h 10000"/>
                <a:gd name="T24" fmla="*/ 121543 w 10000"/>
                <a:gd name="T25" fmla="*/ 190897 h 10000"/>
                <a:gd name="T26" fmla="*/ 52090 w 10000"/>
                <a:gd name="T27" fmla="*/ 161528 h 10000"/>
                <a:gd name="T28" fmla="*/ 17363 w 10000"/>
                <a:gd name="T29" fmla="*/ 146844 h 10000"/>
                <a:gd name="T30" fmla="*/ 0 w 10000"/>
                <a:gd name="T31" fmla="*/ 117475 h 10000"/>
                <a:gd name="T32" fmla="*/ 52090 w 10000"/>
                <a:gd name="T33" fmla="*/ 88106 h 10000"/>
                <a:gd name="T34" fmla="*/ 52090 w 10000"/>
                <a:gd name="T35" fmla="*/ 29369 h 10000"/>
                <a:gd name="T36" fmla="*/ 86817 w 10000"/>
                <a:gd name="T37" fmla="*/ 0 h 10000"/>
                <a:gd name="T38" fmla="*/ 104180 w 10000"/>
                <a:gd name="T39" fmla="*/ 0 h 10000"/>
                <a:gd name="T40" fmla="*/ 156270 w 10000"/>
                <a:gd name="T41" fmla="*/ 0 h 1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000" h="10000">
                  <a:moveTo>
                    <a:pt x="5625" y="0"/>
                  </a:moveTo>
                  <a:lnTo>
                    <a:pt x="6875" y="2500"/>
                  </a:lnTo>
                  <a:lnTo>
                    <a:pt x="6250" y="3750"/>
                  </a:lnTo>
                  <a:lnTo>
                    <a:pt x="6875" y="5000"/>
                  </a:lnTo>
                  <a:lnTo>
                    <a:pt x="8750" y="5625"/>
                  </a:lnTo>
                  <a:lnTo>
                    <a:pt x="8750" y="7500"/>
                  </a:lnTo>
                  <a:lnTo>
                    <a:pt x="10000" y="8750"/>
                  </a:lnTo>
                  <a:lnTo>
                    <a:pt x="8750" y="8750"/>
                  </a:lnTo>
                  <a:lnTo>
                    <a:pt x="8125" y="10000"/>
                  </a:lnTo>
                  <a:lnTo>
                    <a:pt x="6250" y="10000"/>
                  </a:lnTo>
                  <a:lnTo>
                    <a:pt x="5000" y="9375"/>
                  </a:lnTo>
                  <a:lnTo>
                    <a:pt x="5000" y="8125"/>
                  </a:lnTo>
                  <a:lnTo>
                    <a:pt x="4375" y="8125"/>
                  </a:lnTo>
                  <a:lnTo>
                    <a:pt x="1875" y="6875"/>
                  </a:lnTo>
                  <a:lnTo>
                    <a:pt x="625" y="6250"/>
                  </a:lnTo>
                  <a:lnTo>
                    <a:pt x="0" y="5000"/>
                  </a:lnTo>
                  <a:lnTo>
                    <a:pt x="1875" y="3750"/>
                  </a:lnTo>
                  <a:lnTo>
                    <a:pt x="1875" y="1250"/>
                  </a:lnTo>
                  <a:lnTo>
                    <a:pt x="3125" y="0"/>
                  </a:lnTo>
                  <a:lnTo>
                    <a:pt x="3750" y="0"/>
                  </a:lnTo>
                  <a:lnTo>
                    <a:pt x="562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4" name="Freeform 74">
              <a:extLst>
                <a:ext uri="{FF2B5EF4-FFF2-40B4-BE49-F238E27FC236}">
                  <a16:creationId xmlns:a16="http://schemas.microsoft.com/office/drawing/2014/main" id="{887650A5-E251-DC33-2FAF-9A301F3D03EF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5748338" y="3733801"/>
              <a:ext cx="34925" cy="30163"/>
            </a:xfrm>
            <a:custGeom>
              <a:avLst/>
              <a:gdLst>
                <a:gd name="T0" fmla="*/ 17463 w 16"/>
                <a:gd name="T1" fmla="*/ 0 h 16"/>
                <a:gd name="T2" fmla="*/ 34925 w 16"/>
                <a:gd name="T3" fmla="*/ 0 h 16"/>
                <a:gd name="T4" fmla="*/ 17463 w 16"/>
                <a:gd name="T5" fmla="*/ 30163 h 16"/>
                <a:gd name="T6" fmla="*/ 0 w 16"/>
                <a:gd name="T7" fmla="*/ 30163 h 16"/>
                <a:gd name="T8" fmla="*/ 17463 w 16"/>
                <a:gd name="T9" fmla="*/ 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6"/>
                <a:gd name="T17" fmla="*/ 16 w 16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6">
                  <a:moveTo>
                    <a:pt x="8" y="0"/>
                  </a:moveTo>
                  <a:lnTo>
                    <a:pt x="16" y="0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5" name="Freeform 75">
              <a:extLst>
                <a:ext uri="{FF2B5EF4-FFF2-40B4-BE49-F238E27FC236}">
                  <a16:creationId xmlns:a16="http://schemas.microsoft.com/office/drawing/2014/main" id="{D3BCB8EB-BC49-7810-8083-BD0ACA91AA91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5730876" y="3763963"/>
              <a:ext cx="34925" cy="103188"/>
            </a:xfrm>
            <a:custGeom>
              <a:avLst/>
              <a:gdLst>
                <a:gd name="T0" fmla="*/ 34925 w 16"/>
                <a:gd name="T1" fmla="*/ 14741 h 56"/>
                <a:gd name="T2" fmla="*/ 17463 w 16"/>
                <a:gd name="T3" fmla="*/ 29482 h 56"/>
                <a:gd name="T4" fmla="*/ 34925 w 16"/>
                <a:gd name="T5" fmla="*/ 58965 h 56"/>
                <a:gd name="T6" fmla="*/ 17463 w 16"/>
                <a:gd name="T7" fmla="*/ 103188 h 56"/>
                <a:gd name="T8" fmla="*/ 0 w 16"/>
                <a:gd name="T9" fmla="*/ 58965 h 56"/>
                <a:gd name="T10" fmla="*/ 0 w 16"/>
                <a:gd name="T11" fmla="*/ 44223 h 56"/>
                <a:gd name="T12" fmla="*/ 17463 w 16"/>
                <a:gd name="T13" fmla="*/ 0 h 56"/>
                <a:gd name="T14" fmla="*/ 34925 w 16"/>
                <a:gd name="T15" fmla="*/ 0 h 56"/>
                <a:gd name="T16" fmla="*/ 34925 w 16"/>
                <a:gd name="T17" fmla="*/ 14741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56"/>
                <a:gd name="T29" fmla="*/ 16 w 16"/>
                <a:gd name="T30" fmla="*/ 56 h 5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56">
                  <a:moveTo>
                    <a:pt x="16" y="8"/>
                  </a:moveTo>
                  <a:lnTo>
                    <a:pt x="8" y="16"/>
                  </a:lnTo>
                  <a:lnTo>
                    <a:pt x="16" y="32"/>
                  </a:lnTo>
                  <a:lnTo>
                    <a:pt x="8" y="56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6" name="Freeform 76">
              <a:extLst>
                <a:ext uri="{FF2B5EF4-FFF2-40B4-BE49-F238E27FC236}">
                  <a16:creationId xmlns:a16="http://schemas.microsoft.com/office/drawing/2014/main" id="{EF090AE4-258D-A21A-2315-B79FC5E24D76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5472113" y="3808413"/>
              <a:ext cx="311150" cy="265113"/>
            </a:xfrm>
            <a:custGeom>
              <a:avLst/>
              <a:gdLst>
                <a:gd name="T0" fmla="*/ 259292 w 144"/>
                <a:gd name="T1" fmla="*/ 14729 h 144"/>
                <a:gd name="T2" fmla="*/ 224719 w 144"/>
                <a:gd name="T3" fmla="*/ 14729 h 144"/>
                <a:gd name="T4" fmla="*/ 207433 w 144"/>
                <a:gd name="T5" fmla="*/ 14729 h 144"/>
                <a:gd name="T6" fmla="*/ 190147 w 144"/>
                <a:gd name="T7" fmla="*/ 14729 h 144"/>
                <a:gd name="T8" fmla="*/ 190147 w 144"/>
                <a:gd name="T9" fmla="*/ 0 h 144"/>
                <a:gd name="T10" fmla="*/ 172861 w 144"/>
                <a:gd name="T11" fmla="*/ 0 h 144"/>
                <a:gd name="T12" fmla="*/ 121003 w 144"/>
                <a:gd name="T13" fmla="*/ 14729 h 144"/>
                <a:gd name="T14" fmla="*/ 51858 w 144"/>
                <a:gd name="T15" fmla="*/ 0 h 144"/>
                <a:gd name="T16" fmla="*/ 0 w 144"/>
                <a:gd name="T17" fmla="*/ 0 h 144"/>
                <a:gd name="T18" fmla="*/ 0 w 144"/>
                <a:gd name="T19" fmla="*/ 44185 h 144"/>
                <a:gd name="T20" fmla="*/ 0 w 144"/>
                <a:gd name="T21" fmla="*/ 88371 h 144"/>
                <a:gd name="T22" fmla="*/ 17286 w 144"/>
                <a:gd name="T23" fmla="*/ 265113 h 144"/>
                <a:gd name="T24" fmla="*/ 242006 w 144"/>
                <a:gd name="T25" fmla="*/ 265113 h 144"/>
                <a:gd name="T26" fmla="*/ 276578 w 144"/>
                <a:gd name="T27" fmla="*/ 265113 h 144"/>
                <a:gd name="T28" fmla="*/ 311150 w 144"/>
                <a:gd name="T29" fmla="*/ 235656 h 144"/>
                <a:gd name="T30" fmla="*/ 311150 w 144"/>
                <a:gd name="T31" fmla="*/ 206199 h 144"/>
                <a:gd name="T32" fmla="*/ 224719 w 144"/>
                <a:gd name="T33" fmla="*/ 73642 h 144"/>
                <a:gd name="T34" fmla="*/ 207433 w 144"/>
                <a:gd name="T35" fmla="*/ 44185 h 144"/>
                <a:gd name="T36" fmla="*/ 242006 w 144"/>
                <a:gd name="T37" fmla="*/ 88371 h 144"/>
                <a:gd name="T38" fmla="*/ 259292 w 144"/>
                <a:gd name="T39" fmla="*/ 103099 h 144"/>
                <a:gd name="T40" fmla="*/ 276578 w 144"/>
                <a:gd name="T41" fmla="*/ 58914 h 144"/>
                <a:gd name="T42" fmla="*/ 259292 w 144"/>
                <a:gd name="T43" fmla="*/ 14729 h 1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44"/>
                <a:gd name="T67" fmla="*/ 0 h 144"/>
                <a:gd name="T68" fmla="*/ 144 w 144"/>
                <a:gd name="T69" fmla="*/ 144 h 14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44" h="144">
                  <a:moveTo>
                    <a:pt x="120" y="8"/>
                  </a:moveTo>
                  <a:lnTo>
                    <a:pt x="104" y="8"/>
                  </a:lnTo>
                  <a:lnTo>
                    <a:pt x="96" y="8"/>
                  </a:lnTo>
                  <a:lnTo>
                    <a:pt x="88" y="8"/>
                  </a:lnTo>
                  <a:lnTo>
                    <a:pt x="88" y="0"/>
                  </a:lnTo>
                  <a:lnTo>
                    <a:pt x="80" y="0"/>
                  </a:lnTo>
                  <a:lnTo>
                    <a:pt x="56" y="8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8" y="144"/>
                  </a:lnTo>
                  <a:lnTo>
                    <a:pt x="112" y="144"/>
                  </a:lnTo>
                  <a:lnTo>
                    <a:pt x="128" y="144"/>
                  </a:lnTo>
                  <a:lnTo>
                    <a:pt x="144" y="128"/>
                  </a:lnTo>
                  <a:lnTo>
                    <a:pt x="144" y="112"/>
                  </a:lnTo>
                  <a:lnTo>
                    <a:pt x="104" y="40"/>
                  </a:lnTo>
                  <a:lnTo>
                    <a:pt x="96" y="24"/>
                  </a:lnTo>
                  <a:lnTo>
                    <a:pt x="112" y="48"/>
                  </a:lnTo>
                  <a:lnTo>
                    <a:pt x="120" y="56"/>
                  </a:lnTo>
                  <a:lnTo>
                    <a:pt x="128" y="32"/>
                  </a:lnTo>
                  <a:lnTo>
                    <a:pt x="12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7" name="Freeform 77">
              <a:extLst>
                <a:ext uri="{FF2B5EF4-FFF2-40B4-BE49-F238E27FC236}">
                  <a16:creationId xmlns:a16="http://schemas.microsoft.com/office/drawing/2014/main" id="{DEE216EF-DCEF-A945-4594-0916E679BCF2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5627688" y="4575176"/>
              <a:ext cx="155575" cy="147638"/>
            </a:xfrm>
            <a:custGeom>
              <a:avLst/>
              <a:gdLst>
                <a:gd name="T0" fmla="*/ 121003 w 72"/>
                <a:gd name="T1" fmla="*/ 0 h 80"/>
                <a:gd name="T2" fmla="*/ 69144 w 72"/>
                <a:gd name="T3" fmla="*/ 14764 h 80"/>
                <a:gd name="T4" fmla="*/ 34572 w 72"/>
                <a:gd name="T5" fmla="*/ 14764 h 80"/>
                <a:gd name="T6" fmla="*/ 34572 w 72"/>
                <a:gd name="T7" fmla="*/ 44291 h 80"/>
                <a:gd name="T8" fmla="*/ 51858 w 72"/>
                <a:gd name="T9" fmla="*/ 59055 h 80"/>
                <a:gd name="T10" fmla="*/ 34572 w 72"/>
                <a:gd name="T11" fmla="*/ 73819 h 80"/>
                <a:gd name="T12" fmla="*/ 17286 w 72"/>
                <a:gd name="T13" fmla="*/ 103347 h 80"/>
                <a:gd name="T14" fmla="*/ 0 w 72"/>
                <a:gd name="T15" fmla="*/ 147638 h 80"/>
                <a:gd name="T16" fmla="*/ 17286 w 72"/>
                <a:gd name="T17" fmla="*/ 147638 h 80"/>
                <a:gd name="T18" fmla="*/ 69144 w 72"/>
                <a:gd name="T19" fmla="*/ 147638 h 80"/>
                <a:gd name="T20" fmla="*/ 121003 w 72"/>
                <a:gd name="T21" fmla="*/ 147638 h 80"/>
                <a:gd name="T22" fmla="*/ 121003 w 72"/>
                <a:gd name="T23" fmla="*/ 103347 h 80"/>
                <a:gd name="T24" fmla="*/ 155575 w 72"/>
                <a:gd name="T25" fmla="*/ 59055 h 80"/>
                <a:gd name="T26" fmla="*/ 138289 w 72"/>
                <a:gd name="T27" fmla="*/ 0 h 80"/>
                <a:gd name="T28" fmla="*/ 121003 w 72"/>
                <a:gd name="T29" fmla="*/ 0 h 8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2"/>
                <a:gd name="T46" fmla="*/ 0 h 80"/>
                <a:gd name="T47" fmla="*/ 72 w 72"/>
                <a:gd name="T48" fmla="*/ 80 h 8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2" h="80">
                  <a:moveTo>
                    <a:pt x="56" y="0"/>
                  </a:moveTo>
                  <a:lnTo>
                    <a:pt x="32" y="8"/>
                  </a:lnTo>
                  <a:lnTo>
                    <a:pt x="16" y="8"/>
                  </a:lnTo>
                  <a:lnTo>
                    <a:pt x="16" y="24"/>
                  </a:lnTo>
                  <a:lnTo>
                    <a:pt x="24" y="32"/>
                  </a:lnTo>
                  <a:lnTo>
                    <a:pt x="16" y="40"/>
                  </a:lnTo>
                  <a:lnTo>
                    <a:pt x="8" y="56"/>
                  </a:lnTo>
                  <a:lnTo>
                    <a:pt x="0" y="80"/>
                  </a:lnTo>
                  <a:lnTo>
                    <a:pt x="8" y="80"/>
                  </a:lnTo>
                  <a:lnTo>
                    <a:pt x="32" y="80"/>
                  </a:lnTo>
                  <a:lnTo>
                    <a:pt x="56" y="80"/>
                  </a:lnTo>
                  <a:lnTo>
                    <a:pt x="56" y="56"/>
                  </a:lnTo>
                  <a:lnTo>
                    <a:pt x="72" y="32"/>
                  </a:lnTo>
                  <a:lnTo>
                    <a:pt x="64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8" name="Freeform 78">
              <a:extLst>
                <a:ext uri="{FF2B5EF4-FFF2-40B4-BE49-F238E27FC236}">
                  <a16:creationId xmlns:a16="http://schemas.microsoft.com/office/drawing/2014/main" id="{652F1601-7EAE-A90B-D259-D442CAC15FB0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5748338" y="4560888"/>
              <a:ext cx="225425" cy="265113"/>
            </a:xfrm>
            <a:custGeom>
              <a:avLst/>
              <a:gdLst>
                <a:gd name="T0" fmla="*/ 121383 w 104"/>
                <a:gd name="T1" fmla="*/ 235656 h 144"/>
                <a:gd name="T2" fmla="*/ 104042 w 104"/>
                <a:gd name="T3" fmla="*/ 206199 h 144"/>
                <a:gd name="T4" fmla="*/ 17340 w 104"/>
                <a:gd name="T5" fmla="*/ 162013 h 144"/>
                <a:gd name="T6" fmla="*/ 0 w 104"/>
                <a:gd name="T7" fmla="*/ 162013 h 144"/>
                <a:gd name="T8" fmla="*/ 0 w 104"/>
                <a:gd name="T9" fmla="*/ 117828 h 144"/>
                <a:gd name="T10" fmla="*/ 34681 w 104"/>
                <a:gd name="T11" fmla="*/ 73642 h 144"/>
                <a:gd name="T12" fmla="*/ 17340 w 104"/>
                <a:gd name="T13" fmla="*/ 14729 h 144"/>
                <a:gd name="T14" fmla="*/ 0 w 104"/>
                <a:gd name="T15" fmla="*/ 14729 h 144"/>
                <a:gd name="T16" fmla="*/ 17340 w 104"/>
                <a:gd name="T17" fmla="*/ 0 h 144"/>
                <a:gd name="T18" fmla="*/ 52021 w 104"/>
                <a:gd name="T19" fmla="*/ 0 h 144"/>
                <a:gd name="T20" fmla="*/ 86702 w 104"/>
                <a:gd name="T21" fmla="*/ 0 h 144"/>
                <a:gd name="T22" fmla="*/ 121383 w 104"/>
                <a:gd name="T23" fmla="*/ 29457 h 144"/>
                <a:gd name="T24" fmla="*/ 156063 w 104"/>
                <a:gd name="T25" fmla="*/ 29457 h 144"/>
                <a:gd name="T26" fmla="*/ 208085 w 104"/>
                <a:gd name="T27" fmla="*/ 14729 h 144"/>
                <a:gd name="T28" fmla="*/ 225425 w 104"/>
                <a:gd name="T29" fmla="*/ 14729 h 144"/>
                <a:gd name="T30" fmla="*/ 208085 w 104"/>
                <a:gd name="T31" fmla="*/ 58914 h 144"/>
                <a:gd name="T32" fmla="*/ 208085 w 104"/>
                <a:gd name="T33" fmla="*/ 147285 h 144"/>
                <a:gd name="T34" fmla="*/ 225425 w 104"/>
                <a:gd name="T35" fmla="*/ 176742 h 144"/>
                <a:gd name="T36" fmla="*/ 190744 w 104"/>
                <a:gd name="T37" fmla="*/ 206199 h 144"/>
                <a:gd name="T38" fmla="*/ 190744 w 104"/>
                <a:gd name="T39" fmla="*/ 191470 h 144"/>
                <a:gd name="T40" fmla="*/ 190744 w 104"/>
                <a:gd name="T41" fmla="*/ 220927 h 144"/>
                <a:gd name="T42" fmla="*/ 156063 w 104"/>
                <a:gd name="T43" fmla="*/ 265113 h 144"/>
                <a:gd name="T44" fmla="*/ 121383 w 104"/>
                <a:gd name="T45" fmla="*/ 235656 h 1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4"/>
                <a:gd name="T70" fmla="*/ 0 h 144"/>
                <a:gd name="T71" fmla="*/ 104 w 104"/>
                <a:gd name="T72" fmla="*/ 144 h 1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4" h="144">
                  <a:moveTo>
                    <a:pt x="56" y="128"/>
                  </a:moveTo>
                  <a:lnTo>
                    <a:pt x="48" y="112"/>
                  </a:lnTo>
                  <a:lnTo>
                    <a:pt x="8" y="88"/>
                  </a:lnTo>
                  <a:lnTo>
                    <a:pt x="0" y="88"/>
                  </a:lnTo>
                  <a:lnTo>
                    <a:pt x="0" y="64"/>
                  </a:lnTo>
                  <a:lnTo>
                    <a:pt x="16" y="40"/>
                  </a:lnTo>
                  <a:lnTo>
                    <a:pt x="8" y="8"/>
                  </a:lnTo>
                  <a:lnTo>
                    <a:pt x="0" y="8"/>
                  </a:lnTo>
                  <a:lnTo>
                    <a:pt x="8" y="0"/>
                  </a:lnTo>
                  <a:lnTo>
                    <a:pt x="24" y="0"/>
                  </a:lnTo>
                  <a:lnTo>
                    <a:pt x="40" y="0"/>
                  </a:lnTo>
                  <a:lnTo>
                    <a:pt x="56" y="16"/>
                  </a:lnTo>
                  <a:lnTo>
                    <a:pt x="72" y="16"/>
                  </a:lnTo>
                  <a:lnTo>
                    <a:pt x="96" y="8"/>
                  </a:lnTo>
                  <a:lnTo>
                    <a:pt x="104" y="8"/>
                  </a:lnTo>
                  <a:lnTo>
                    <a:pt x="96" y="32"/>
                  </a:lnTo>
                  <a:lnTo>
                    <a:pt x="96" y="80"/>
                  </a:lnTo>
                  <a:lnTo>
                    <a:pt x="104" y="96"/>
                  </a:lnTo>
                  <a:lnTo>
                    <a:pt x="88" y="112"/>
                  </a:lnTo>
                  <a:lnTo>
                    <a:pt x="88" y="104"/>
                  </a:lnTo>
                  <a:lnTo>
                    <a:pt x="88" y="120"/>
                  </a:lnTo>
                  <a:lnTo>
                    <a:pt x="72" y="144"/>
                  </a:lnTo>
                  <a:lnTo>
                    <a:pt x="56" y="12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9" name="Freeform 79">
              <a:extLst>
                <a:ext uri="{FF2B5EF4-FFF2-40B4-BE49-F238E27FC236}">
                  <a16:creationId xmlns:a16="http://schemas.microsoft.com/office/drawing/2014/main" id="{CB0C89D6-0341-A4D6-4390-493580295354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5627688" y="4722813"/>
              <a:ext cx="311150" cy="295275"/>
            </a:xfrm>
            <a:custGeom>
              <a:avLst/>
              <a:gdLst>
                <a:gd name="T0" fmla="*/ 17286 w 144"/>
                <a:gd name="T1" fmla="*/ 0 h 160"/>
                <a:gd name="T2" fmla="*/ 34572 w 144"/>
                <a:gd name="T3" fmla="*/ 14764 h 160"/>
                <a:gd name="T4" fmla="*/ 34572 w 144"/>
                <a:gd name="T5" fmla="*/ 29528 h 160"/>
                <a:gd name="T6" fmla="*/ 34572 w 144"/>
                <a:gd name="T7" fmla="*/ 59055 h 160"/>
                <a:gd name="T8" fmla="*/ 0 w 144"/>
                <a:gd name="T9" fmla="*/ 88582 h 160"/>
                <a:gd name="T10" fmla="*/ 0 w 144"/>
                <a:gd name="T11" fmla="*/ 147638 h 160"/>
                <a:gd name="T12" fmla="*/ 34572 w 144"/>
                <a:gd name="T13" fmla="*/ 191929 h 160"/>
                <a:gd name="T14" fmla="*/ 34572 w 144"/>
                <a:gd name="T15" fmla="*/ 206692 h 160"/>
                <a:gd name="T16" fmla="*/ 51858 w 144"/>
                <a:gd name="T17" fmla="*/ 206692 h 160"/>
                <a:gd name="T18" fmla="*/ 103717 w 144"/>
                <a:gd name="T19" fmla="*/ 236220 h 160"/>
                <a:gd name="T20" fmla="*/ 121003 w 144"/>
                <a:gd name="T21" fmla="*/ 236220 h 160"/>
                <a:gd name="T22" fmla="*/ 138289 w 144"/>
                <a:gd name="T23" fmla="*/ 250984 h 160"/>
                <a:gd name="T24" fmla="*/ 155575 w 144"/>
                <a:gd name="T25" fmla="*/ 295275 h 160"/>
                <a:gd name="T26" fmla="*/ 190147 w 144"/>
                <a:gd name="T27" fmla="*/ 295275 h 160"/>
                <a:gd name="T28" fmla="*/ 276578 w 144"/>
                <a:gd name="T29" fmla="*/ 280511 h 160"/>
                <a:gd name="T30" fmla="*/ 311150 w 144"/>
                <a:gd name="T31" fmla="*/ 265748 h 160"/>
                <a:gd name="T32" fmla="*/ 293864 w 144"/>
                <a:gd name="T33" fmla="*/ 250984 h 160"/>
                <a:gd name="T34" fmla="*/ 276578 w 144"/>
                <a:gd name="T35" fmla="*/ 221456 h 160"/>
                <a:gd name="T36" fmla="*/ 293864 w 144"/>
                <a:gd name="T37" fmla="*/ 162401 h 160"/>
                <a:gd name="T38" fmla="*/ 259292 w 144"/>
                <a:gd name="T39" fmla="*/ 132874 h 160"/>
                <a:gd name="T40" fmla="*/ 276578 w 144"/>
                <a:gd name="T41" fmla="*/ 103346 h 160"/>
                <a:gd name="T42" fmla="*/ 242006 w 144"/>
                <a:gd name="T43" fmla="*/ 73819 h 160"/>
                <a:gd name="T44" fmla="*/ 224719 w 144"/>
                <a:gd name="T45" fmla="*/ 44291 h 160"/>
                <a:gd name="T46" fmla="*/ 138289 w 144"/>
                <a:gd name="T47" fmla="*/ 0 h 160"/>
                <a:gd name="T48" fmla="*/ 121003 w 144"/>
                <a:gd name="T49" fmla="*/ 0 h 160"/>
                <a:gd name="T50" fmla="*/ 69144 w 144"/>
                <a:gd name="T51" fmla="*/ 0 h 160"/>
                <a:gd name="T52" fmla="*/ 17286 w 144"/>
                <a:gd name="T53" fmla="*/ 0 h 16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44"/>
                <a:gd name="T82" fmla="*/ 0 h 160"/>
                <a:gd name="T83" fmla="*/ 144 w 144"/>
                <a:gd name="T84" fmla="*/ 160 h 16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44" h="160">
                  <a:moveTo>
                    <a:pt x="8" y="0"/>
                  </a:moveTo>
                  <a:lnTo>
                    <a:pt x="16" y="8"/>
                  </a:lnTo>
                  <a:lnTo>
                    <a:pt x="16" y="16"/>
                  </a:lnTo>
                  <a:lnTo>
                    <a:pt x="16" y="32"/>
                  </a:lnTo>
                  <a:lnTo>
                    <a:pt x="0" y="48"/>
                  </a:lnTo>
                  <a:lnTo>
                    <a:pt x="0" y="80"/>
                  </a:lnTo>
                  <a:lnTo>
                    <a:pt x="16" y="104"/>
                  </a:lnTo>
                  <a:lnTo>
                    <a:pt x="16" y="112"/>
                  </a:lnTo>
                  <a:lnTo>
                    <a:pt x="24" y="112"/>
                  </a:lnTo>
                  <a:lnTo>
                    <a:pt x="48" y="128"/>
                  </a:lnTo>
                  <a:lnTo>
                    <a:pt x="56" y="128"/>
                  </a:lnTo>
                  <a:lnTo>
                    <a:pt x="64" y="136"/>
                  </a:lnTo>
                  <a:lnTo>
                    <a:pt x="72" y="160"/>
                  </a:lnTo>
                  <a:lnTo>
                    <a:pt x="88" y="160"/>
                  </a:lnTo>
                  <a:lnTo>
                    <a:pt x="128" y="152"/>
                  </a:lnTo>
                  <a:lnTo>
                    <a:pt x="144" y="144"/>
                  </a:lnTo>
                  <a:lnTo>
                    <a:pt x="136" y="136"/>
                  </a:lnTo>
                  <a:lnTo>
                    <a:pt x="128" y="120"/>
                  </a:lnTo>
                  <a:lnTo>
                    <a:pt x="136" y="88"/>
                  </a:lnTo>
                  <a:lnTo>
                    <a:pt x="120" y="72"/>
                  </a:lnTo>
                  <a:lnTo>
                    <a:pt x="128" y="56"/>
                  </a:lnTo>
                  <a:lnTo>
                    <a:pt x="112" y="40"/>
                  </a:lnTo>
                  <a:lnTo>
                    <a:pt x="104" y="24"/>
                  </a:lnTo>
                  <a:lnTo>
                    <a:pt x="64" y="0"/>
                  </a:lnTo>
                  <a:lnTo>
                    <a:pt x="56" y="0"/>
                  </a:lnTo>
                  <a:lnTo>
                    <a:pt x="3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0" name="Freeform 80">
              <a:extLst>
                <a:ext uri="{FF2B5EF4-FFF2-40B4-BE49-F238E27FC236}">
                  <a16:creationId xmlns:a16="http://schemas.microsoft.com/office/drawing/2014/main" id="{82140DB2-EF9F-778B-9B9F-F783E6DC3DF7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5402263" y="4914901"/>
              <a:ext cx="346075" cy="279400"/>
            </a:xfrm>
            <a:custGeom>
              <a:avLst/>
              <a:gdLst>
                <a:gd name="T0" fmla="*/ 207645 w 160"/>
                <a:gd name="T1" fmla="*/ 220579 h 152"/>
                <a:gd name="T2" fmla="*/ 190341 w 160"/>
                <a:gd name="T3" fmla="*/ 235284 h 152"/>
                <a:gd name="T4" fmla="*/ 138430 w 160"/>
                <a:gd name="T5" fmla="*/ 279400 h 152"/>
                <a:gd name="T6" fmla="*/ 86519 w 160"/>
                <a:gd name="T7" fmla="*/ 279400 h 152"/>
                <a:gd name="T8" fmla="*/ 51911 w 160"/>
                <a:gd name="T9" fmla="*/ 264695 h 152"/>
                <a:gd name="T10" fmla="*/ 34608 w 160"/>
                <a:gd name="T11" fmla="*/ 264695 h 152"/>
                <a:gd name="T12" fmla="*/ 0 w 160"/>
                <a:gd name="T13" fmla="*/ 235284 h 152"/>
                <a:gd name="T14" fmla="*/ 0 w 160"/>
                <a:gd name="T15" fmla="*/ 147053 h 152"/>
                <a:gd name="T16" fmla="*/ 69215 w 160"/>
                <a:gd name="T17" fmla="*/ 132347 h 152"/>
                <a:gd name="T18" fmla="*/ 51911 w 160"/>
                <a:gd name="T19" fmla="*/ 132347 h 152"/>
                <a:gd name="T20" fmla="*/ 69215 w 160"/>
                <a:gd name="T21" fmla="*/ 73526 h 152"/>
                <a:gd name="T22" fmla="*/ 121126 w 160"/>
                <a:gd name="T23" fmla="*/ 102937 h 152"/>
                <a:gd name="T24" fmla="*/ 138430 w 160"/>
                <a:gd name="T25" fmla="*/ 102937 h 152"/>
                <a:gd name="T26" fmla="*/ 190341 w 160"/>
                <a:gd name="T27" fmla="*/ 132347 h 152"/>
                <a:gd name="T28" fmla="*/ 224949 w 160"/>
                <a:gd name="T29" fmla="*/ 147053 h 152"/>
                <a:gd name="T30" fmla="*/ 224949 w 160"/>
                <a:gd name="T31" fmla="*/ 117642 h 152"/>
                <a:gd name="T32" fmla="*/ 207645 w 160"/>
                <a:gd name="T33" fmla="*/ 117642 h 152"/>
                <a:gd name="T34" fmla="*/ 190341 w 160"/>
                <a:gd name="T35" fmla="*/ 102937 h 152"/>
                <a:gd name="T36" fmla="*/ 207645 w 160"/>
                <a:gd name="T37" fmla="*/ 29411 h 152"/>
                <a:gd name="T38" fmla="*/ 207645 w 160"/>
                <a:gd name="T39" fmla="*/ 14705 h 152"/>
                <a:gd name="T40" fmla="*/ 242252 w 160"/>
                <a:gd name="T41" fmla="*/ 0 h 152"/>
                <a:gd name="T42" fmla="*/ 259556 w 160"/>
                <a:gd name="T43" fmla="*/ 0 h 152"/>
                <a:gd name="T44" fmla="*/ 259556 w 160"/>
                <a:gd name="T45" fmla="*/ 14705 h 152"/>
                <a:gd name="T46" fmla="*/ 276860 w 160"/>
                <a:gd name="T47" fmla="*/ 14705 h 152"/>
                <a:gd name="T48" fmla="*/ 328771 w 160"/>
                <a:gd name="T49" fmla="*/ 44116 h 152"/>
                <a:gd name="T50" fmla="*/ 346075 w 160"/>
                <a:gd name="T51" fmla="*/ 73526 h 152"/>
                <a:gd name="T52" fmla="*/ 328771 w 160"/>
                <a:gd name="T53" fmla="*/ 102937 h 152"/>
                <a:gd name="T54" fmla="*/ 328771 w 160"/>
                <a:gd name="T55" fmla="*/ 117642 h 152"/>
                <a:gd name="T56" fmla="*/ 311468 w 160"/>
                <a:gd name="T57" fmla="*/ 161758 h 152"/>
                <a:gd name="T58" fmla="*/ 328771 w 160"/>
                <a:gd name="T59" fmla="*/ 161758 h 152"/>
                <a:gd name="T60" fmla="*/ 242252 w 160"/>
                <a:gd name="T61" fmla="*/ 191168 h 152"/>
                <a:gd name="T62" fmla="*/ 242252 w 160"/>
                <a:gd name="T63" fmla="*/ 205874 h 152"/>
                <a:gd name="T64" fmla="*/ 207645 w 160"/>
                <a:gd name="T65" fmla="*/ 220579 h 15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0"/>
                <a:gd name="T100" fmla="*/ 0 h 152"/>
                <a:gd name="T101" fmla="*/ 160 w 160"/>
                <a:gd name="T102" fmla="*/ 152 h 15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0" h="152">
                  <a:moveTo>
                    <a:pt x="96" y="120"/>
                  </a:moveTo>
                  <a:lnTo>
                    <a:pt x="88" y="128"/>
                  </a:lnTo>
                  <a:lnTo>
                    <a:pt x="64" y="152"/>
                  </a:lnTo>
                  <a:lnTo>
                    <a:pt x="40" y="152"/>
                  </a:lnTo>
                  <a:lnTo>
                    <a:pt x="24" y="144"/>
                  </a:lnTo>
                  <a:lnTo>
                    <a:pt x="16" y="144"/>
                  </a:lnTo>
                  <a:lnTo>
                    <a:pt x="0" y="128"/>
                  </a:lnTo>
                  <a:lnTo>
                    <a:pt x="0" y="80"/>
                  </a:lnTo>
                  <a:lnTo>
                    <a:pt x="32" y="72"/>
                  </a:lnTo>
                  <a:lnTo>
                    <a:pt x="24" y="72"/>
                  </a:lnTo>
                  <a:lnTo>
                    <a:pt x="32" y="40"/>
                  </a:lnTo>
                  <a:lnTo>
                    <a:pt x="56" y="56"/>
                  </a:lnTo>
                  <a:lnTo>
                    <a:pt x="64" y="56"/>
                  </a:lnTo>
                  <a:lnTo>
                    <a:pt x="88" y="72"/>
                  </a:lnTo>
                  <a:lnTo>
                    <a:pt x="104" y="80"/>
                  </a:lnTo>
                  <a:lnTo>
                    <a:pt x="104" y="64"/>
                  </a:lnTo>
                  <a:lnTo>
                    <a:pt x="96" y="64"/>
                  </a:lnTo>
                  <a:lnTo>
                    <a:pt x="88" y="56"/>
                  </a:lnTo>
                  <a:lnTo>
                    <a:pt x="96" y="16"/>
                  </a:lnTo>
                  <a:lnTo>
                    <a:pt x="96" y="8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8"/>
                  </a:lnTo>
                  <a:lnTo>
                    <a:pt x="128" y="8"/>
                  </a:lnTo>
                  <a:lnTo>
                    <a:pt x="152" y="24"/>
                  </a:lnTo>
                  <a:lnTo>
                    <a:pt x="160" y="40"/>
                  </a:lnTo>
                  <a:lnTo>
                    <a:pt x="152" y="56"/>
                  </a:lnTo>
                  <a:lnTo>
                    <a:pt x="152" y="64"/>
                  </a:lnTo>
                  <a:lnTo>
                    <a:pt x="144" y="88"/>
                  </a:lnTo>
                  <a:lnTo>
                    <a:pt x="152" y="88"/>
                  </a:lnTo>
                  <a:lnTo>
                    <a:pt x="112" y="104"/>
                  </a:lnTo>
                  <a:lnTo>
                    <a:pt x="112" y="112"/>
                  </a:lnTo>
                  <a:lnTo>
                    <a:pt x="96" y="1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1" name="Freeform 81">
              <a:extLst>
                <a:ext uri="{FF2B5EF4-FFF2-40B4-BE49-F238E27FC236}">
                  <a16:creationId xmlns:a16="http://schemas.microsoft.com/office/drawing/2014/main" id="{9AD4469A-BDE9-FE42-8AEC-3CD3F0E710C6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5645151" y="4987926"/>
              <a:ext cx="293688" cy="442913"/>
            </a:xfrm>
            <a:custGeom>
              <a:avLst/>
              <a:gdLst>
                <a:gd name="T0" fmla="*/ 34552 w 136"/>
                <a:gd name="T1" fmla="*/ 442913 h 240"/>
                <a:gd name="T2" fmla="*/ 51827 w 136"/>
                <a:gd name="T3" fmla="*/ 442913 h 240"/>
                <a:gd name="T4" fmla="*/ 51827 w 136"/>
                <a:gd name="T5" fmla="*/ 428149 h 240"/>
                <a:gd name="T6" fmla="*/ 51827 w 136"/>
                <a:gd name="T7" fmla="*/ 413385 h 240"/>
                <a:gd name="T8" fmla="*/ 120930 w 136"/>
                <a:gd name="T9" fmla="*/ 383858 h 240"/>
                <a:gd name="T10" fmla="*/ 138206 w 136"/>
                <a:gd name="T11" fmla="*/ 324803 h 240"/>
                <a:gd name="T12" fmla="*/ 120930 w 136"/>
                <a:gd name="T13" fmla="*/ 280512 h 240"/>
                <a:gd name="T14" fmla="*/ 120930 w 136"/>
                <a:gd name="T15" fmla="*/ 265748 h 240"/>
                <a:gd name="T16" fmla="*/ 190033 w 136"/>
                <a:gd name="T17" fmla="*/ 191929 h 240"/>
                <a:gd name="T18" fmla="*/ 241861 w 136"/>
                <a:gd name="T19" fmla="*/ 177165 h 240"/>
                <a:gd name="T20" fmla="*/ 293688 w 136"/>
                <a:gd name="T21" fmla="*/ 132874 h 240"/>
                <a:gd name="T22" fmla="*/ 293688 w 136"/>
                <a:gd name="T23" fmla="*/ 0 h 240"/>
                <a:gd name="T24" fmla="*/ 259136 w 136"/>
                <a:gd name="T25" fmla="*/ 14764 h 240"/>
                <a:gd name="T26" fmla="*/ 172758 w 136"/>
                <a:gd name="T27" fmla="*/ 29528 h 240"/>
                <a:gd name="T28" fmla="*/ 138206 w 136"/>
                <a:gd name="T29" fmla="*/ 29528 h 240"/>
                <a:gd name="T30" fmla="*/ 120930 w 136"/>
                <a:gd name="T31" fmla="*/ 44291 h 240"/>
                <a:gd name="T32" fmla="*/ 120930 w 136"/>
                <a:gd name="T33" fmla="*/ 73819 h 240"/>
                <a:gd name="T34" fmla="*/ 155482 w 136"/>
                <a:gd name="T35" fmla="*/ 118110 h 240"/>
                <a:gd name="T36" fmla="*/ 155482 w 136"/>
                <a:gd name="T37" fmla="*/ 147638 h 240"/>
                <a:gd name="T38" fmla="*/ 138206 w 136"/>
                <a:gd name="T39" fmla="*/ 177165 h 240"/>
                <a:gd name="T40" fmla="*/ 103655 w 136"/>
                <a:gd name="T41" fmla="*/ 147638 h 240"/>
                <a:gd name="T42" fmla="*/ 120930 w 136"/>
                <a:gd name="T43" fmla="*/ 103346 h 240"/>
                <a:gd name="T44" fmla="*/ 86379 w 136"/>
                <a:gd name="T45" fmla="*/ 103346 h 240"/>
                <a:gd name="T46" fmla="*/ 86379 w 136"/>
                <a:gd name="T47" fmla="*/ 88583 h 240"/>
                <a:gd name="T48" fmla="*/ 0 w 136"/>
                <a:gd name="T49" fmla="*/ 118110 h 240"/>
                <a:gd name="T50" fmla="*/ 0 w 136"/>
                <a:gd name="T51" fmla="*/ 132874 h 240"/>
                <a:gd name="T52" fmla="*/ 0 w 136"/>
                <a:gd name="T53" fmla="*/ 147638 h 240"/>
                <a:gd name="T54" fmla="*/ 17276 w 136"/>
                <a:gd name="T55" fmla="*/ 147638 h 240"/>
                <a:gd name="T56" fmla="*/ 69103 w 136"/>
                <a:gd name="T57" fmla="*/ 162401 h 240"/>
                <a:gd name="T58" fmla="*/ 69103 w 136"/>
                <a:gd name="T59" fmla="*/ 191929 h 240"/>
                <a:gd name="T60" fmla="*/ 69103 w 136"/>
                <a:gd name="T61" fmla="*/ 265748 h 240"/>
                <a:gd name="T62" fmla="*/ 17276 w 136"/>
                <a:gd name="T63" fmla="*/ 339567 h 240"/>
                <a:gd name="T64" fmla="*/ 34552 w 136"/>
                <a:gd name="T65" fmla="*/ 428149 h 240"/>
                <a:gd name="T66" fmla="*/ 34552 w 136"/>
                <a:gd name="T67" fmla="*/ 442913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6"/>
                <a:gd name="T103" fmla="*/ 0 h 240"/>
                <a:gd name="T104" fmla="*/ 136 w 13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6" h="240">
                  <a:moveTo>
                    <a:pt x="16" y="240"/>
                  </a:moveTo>
                  <a:lnTo>
                    <a:pt x="24" y="240"/>
                  </a:lnTo>
                  <a:lnTo>
                    <a:pt x="24" y="232"/>
                  </a:lnTo>
                  <a:lnTo>
                    <a:pt x="24" y="224"/>
                  </a:lnTo>
                  <a:lnTo>
                    <a:pt x="56" y="208"/>
                  </a:lnTo>
                  <a:lnTo>
                    <a:pt x="64" y="176"/>
                  </a:lnTo>
                  <a:lnTo>
                    <a:pt x="56" y="152"/>
                  </a:lnTo>
                  <a:lnTo>
                    <a:pt x="56" y="144"/>
                  </a:lnTo>
                  <a:lnTo>
                    <a:pt x="88" y="104"/>
                  </a:lnTo>
                  <a:lnTo>
                    <a:pt x="112" y="96"/>
                  </a:lnTo>
                  <a:lnTo>
                    <a:pt x="136" y="72"/>
                  </a:lnTo>
                  <a:lnTo>
                    <a:pt x="136" y="0"/>
                  </a:lnTo>
                  <a:lnTo>
                    <a:pt x="120" y="8"/>
                  </a:lnTo>
                  <a:lnTo>
                    <a:pt x="80" y="16"/>
                  </a:lnTo>
                  <a:lnTo>
                    <a:pt x="64" y="16"/>
                  </a:lnTo>
                  <a:lnTo>
                    <a:pt x="56" y="24"/>
                  </a:lnTo>
                  <a:lnTo>
                    <a:pt x="56" y="40"/>
                  </a:lnTo>
                  <a:lnTo>
                    <a:pt x="72" y="64"/>
                  </a:lnTo>
                  <a:lnTo>
                    <a:pt x="72" y="80"/>
                  </a:lnTo>
                  <a:lnTo>
                    <a:pt x="64" y="96"/>
                  </a:lnTo>
                  <a:lnTo>
                    <a:pt x="48" y="80"/>
                  </a:lnTo>
                  <a:lnTo>
                    <a:pt x="56" y="56"/>
                  </a:lnTo>
                  <a:lnTo>
                    <a:pt x="40" y="56"/>
                  </a:lnTo>
                  <a:lnTo>
                    <a:pt x="40" y="48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8" y="80"/>
                  </a:lnTo>
                  <a:lnTo>
                    <a:pt x="32" y="88"/>
                  </a:lnTo>
                  <a:lnTo>
                    <a:pt x="32" y="104"/>
                  </a:lnTo>
                  <a:lnTo>
                    <a:pt x="32" y="144"/>
                  </a:lnTo>
                  <a:lnTo>
                    <a:pt x="8" y="184"/>
                  </a:lnTo>
                  <a:lnTo>
                    <a:pt x="16" y="232"/>
                  </a:lnTo>
                  <a:lnTo>
                    <a:pt x="16" y="24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2" name="Freeform 82">
              <a:extLst>
                <a:ext uri="{FF2B5EF4-FFF2-40B4-BE49-F238E27FC236}">
                  <a16:creationId xmlns:a16="http://schemas.microsoft.com/office/drawing/2014/main" id="{CAF5E301-B6C3-5502-EE3B-E03EC7D5EEFB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5713413" y="4959351"/>
              <a:ext cx="87313" cy="206375"/>
            </a:xfrm>
            <a:custGeom>
              <a:avLst/>
              <a:gdLst>
                <a:gd name="T0" fmla="*/ 17463 w 40"/>
                <a:gd name="T1" fmla="*/ 0 h 112"/>
                <a:gd name="T2" fmla="*/ 34925 w 40"/>
                <a:gd name="T3" fmla="*/ 29482 h 112"/>
                <a:gd name="T4" fmla="*/ 17463 w 40"/>
                <a:gd name="T5" fmla="*/ 58964 h 112"/>
                <a:gd name="T6" fmla="*/ 17463 w 40"/>
                <a:gd name="T7" fmla="*/ 73705 h 112"/>
                <a:gd name="T8" fmla="*/ 0 w 40"/>
                <a:gd name="T9" fmla="*/ 117929 h 112"/>
                <a:gd name="T10" fmla="*/ 17463 w 40"/>
                <a:gd name="T11" fmla="*/ 117929 h 112"/>
                <a:gd name="T12" fmla="*/ 17463 w 40"/>
                <a:gd name="T13" fmla="*/ 132670 h 112"/>
                <a:gd name="T14" fmla="*/ 52388 w 40"/>
                <a:gd name="T15" fmla="*/ 132670 h 112"/>
                <a:gd name="T16" fmla="*/ 34925 w 40"/>
                <a:gd name="T17" fmla="*/ 176893 h 112"/>
                <a:gd name="T18" fmla="*/ 69850 w 40"/>
                <a:gd name="T19" fmla="*/ 206375 h 112"/>
                <a:gd name="T20" fmla="*/ 87313 w 40"/>
                <a:gd name="T21" fmla="*/ 176893 h 112"/>
                <a:gd name="T22" fmla="*/ 87313 w 40"/>
                <a:gd name="T23" fmla="*/ 147411 h 112"/>
                <a:gd name="T24" fmla="*/ 52388 w 40"/>
                <a:gd name="T25" fmla="*/ 103188 h 112"/>
                <a:gd name="T26" fmla="*/ 52388 w 40"/>
                <a:gd name="T27" fmla="*/ 73705 h 112"/>
                <a:gd name="T28" fmla="*/ 69850 w 40"/>
                <a:gd name="T29" fmla="*/ 58964 h 112"/>
                <a:gd name="T30" fmla="*/ 52388 w 40"/>
                <a:gd name="T31" fmla="*/ 14741 h 112"/>
                <a:gd name="T32" fmla="*/ 34925 w 40"/>
                <a:gd name="T33" fmla="*/ 0 h 112"/>
                <a:gd name="T34" fmla="*/ 17463 w 40"/>
                <a:gd name="T35" fmla="*/ 0 h 1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0"/>
                <a:gd name="T55" fmla="*/ 0 h 112"/>
                <a:gd name="T56" fmla="*/ 40 w 40"/>
                <a:gd name="T57" fmla="*/ 112 h 1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0" h="112">
                  <a:moveTo>
                    <a:pt x="8" y="0"/>
                  </a:moveTo>
                  <a:lnTo>
                    <a:pt x="16" y="16"/>
                  </a:lnTo>
                  <a:lnTo>
                    <a:pt x="8" y="32"/>
                  </a:lnTo>
                  <a:lnTo>
                    <a:pt x="8" y="40"/>
                  </a:lnTo>
                  <a:lnTo>
                    <a:pt x="0" y="64"/>
                  </a:lnTo>
                  <a:lnTo>
                    <a:pt x="8" y="64"/>
                  </a:lnTo>
                  <a:lnTo>
                    <a:pt x="8" y="72"/>
                  </a:lnTo>
                  <a:lnTo>
                    <a:pt x="24" y="72"/>
                  </a:lnTo>
                  <a:lnTo>
                    <a:pt x="16" y="96"/>
                  </a:lnTo>
                  <a:lnTo>
                    <a:pt x="32" y="112"/>
                  </a:lnTo>
                  <a:lnTo>
                    <a:pt x="40" y="96"/>
                  </a:lnTo>
                  <a:lnTo>
                    <a:pt x="40" y="80"/>
                  </a:lnTo>
                  <a:lnTo>
                    <a:pt x="24" y="56"/>
                  </a:lnTo>
                  <a:lnTo>
                    <a:pt x="24" y="40"/>
                  </a:lnTo>
                  <a:lnTo>
                    <a:pt x="32" y="32"/>
                  </a:lnTo>
                  <a:lnTo>
                    <a:pt x="24" y="8"/>
                  </a:lnTo>
                  <a:lnTo>
                    <a:pt x="16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3" name="Freeform 83">
              <a:extLst>
                <a:ext uri="{FF2B5EF4-FFF2-40B4-BE49-F238E27FC236}">
                  <a16:creationId xmlns:a16="http://schemas.microsoft.com/office/drawing/2014/main" id="{790C0898-F1EF-06F1-72BD-9567C37C828B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5489576" y="5121276"/>
              <a:ext cx="223838" cy="206375"/>
            </a:xfrm>
            <a:custGeom>
              <a:avLst/>
              <a:gdLst>
                <a:gd name="T0" fmla="*/ 120528 w 104"/>
                <a:gd name="T1" fmla="*/ 191634 h 112"/>
                <a:gd name="T2" fmla="*/ 86092 w 104"/>
                <a:gd name="T3" fmla="*/ 176893 h 112"/>
                <a:gd name="T4" fmla="*/ 68873 w 104"/>
                <a:gd name="T5" fmla="*/ 147411 h 112"/>
                <a:gd name="T6" fmla="*/ 34437 w 104"/>
                <a:gd name="T7" fmla="*/ 117929 h 112"/>
                <a:gd name="T8" fmla="*/ 0 w 104"/>
                <a:gd name="T9" fmla="*/ 73705 h 112"/>
                <a:gd name="T10" fmla="*/ 51655 w 104"/>
                <a:gd name="T11" fmla="*/ 73705 h 112"/>
                <a:gd name="T12" fmla="*/ 103310 w 104"/>
                <a:gd name="T13" fmla="*/ 29482 h 112"/>
                <a:gd name="T14" fmla="*/ 120528 w 104"/>
                <a:gd name="T15" fmla="*/ 14741 h 112"/>
                <a:gd name="T16" fmla="*/ 154965 w 104"/>
                <a:gd name="T17" fmla="*/ 0 h 112"/>
                <a:gd name="T18" fmla="*/ 154965 w 104"/>
                <a:gd name="T19" fmla="*/ 14741 h 112"/>
                <a:gd name="T20" fmla="*/ 172183 w 104"/>
                <a:gd name="T21" fmla="*/ 14741 h 112"/>
                <a:gd name="T22" fmla="*/ 223838 w 104"/>
                <a:gd name="T23" fmla="*/ 29482 h 112"/>
                <a:gd name="T24" fmla="*/ 223838 w 104"/>
                <a:gd name="T25" fmla="*/ 58964 h 112"/>
                <a:gd name="T26" fmla="*/ 223838 w 104"/>
                <a:gd name="T27" fmla="*/ 132670 h 112"/>
                <a:gd name="T28" fmla="*/ 172183 w 104"/>
                <a:gd name="T29" fmla="*/ 206375 h 112"/>
                <a:gd name="T30" fmla="*/ 154965 w 104"/>
                <a:gd name="T31" fmla="*/ 191634 h 112"/>
                <a:gd name="T32" fmla="*/ 120528 w 104"/>
                <a:gd name="T33" fmla="*/ 191634 h 1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4"/>
                <a:gd name="T52" fmla="*/ 0 h 112"/>
                <a:gd name="T53" fmla="*/ 104 w 104"/>
                <a:gd name="T54" fmla="*/ 112 h 11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4" h="112">
                  <a:moveTo>
                    <a:pt x="56" y="104"/>
                  </a:moveTo>
                  <a:lnTo>
                    <a:pt x="40" y="96"/>
                  </a:lnTo>
                  <a:lnTo>
                    <a:pt x="32" y="80"/>
                  </a:lnTo>
                  <a:lnTo>
                    <a:pt x="16" y="64"/>
                  </a:lnTo>
                  <a:lnTo>
                    <a:pt x="0" y="40"/>
                  </a:lnTo>
                  <a:lnTo>
                    <a:pt x="24" y="40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72" y="0"/>
                  </a:lnTo>
                  <a:lnTo>
                    <a:pt x="72" y="8"/>
                  </a:lnTo>
                  <a:lnTo>
                    <a:pt x="80" y="8"/>
                  </a:lnTo>
                  <a:lnTo>
                    <a:pt x="104" y="16"/>
                  </a:lnTo>
                  <a:lnTo>
                    <a:pt x="104" y="32"/>
                  </a:lnTo>
                  <a:lnTo>
                    <a:pt x="104" y="72"/>
                  </a:lnTo>
                  <a:lnTo>
                    <a:pt x="80" y="112"/>
                  </a:lnTo>
                  <a:lnTo>
                    <a:pt x="72" y="104"/>
                  </a:lnTo>
                  <a:lnTo>
                    <a:pt x="56" y="10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4" name="Freeform 84">
              <a:extLst>
                <a:ext uri="{FF2B5EF4-FFF2-40B4-BE49-F238E27FC236}">
                  <a16:creationId xmlns:a16="http://schemas.microsoft.com/office/drawing/2014/main" id="{7A81F40B-6824-8755-3AF6-DC09025C8DEF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5246688" y="5313363"/>
              <a:ext cx="449263" cy="354013"/>
            </a:xfrm>
            <a:custGeom>
              <a:avLst/>
              <a:gdLst>
                <a:gd name="T0" fmla="*/ 362866 w 208"/>
                <a:gd name="T1" fmla="*/ 0 h 192"/>
                <a:gd name="T2" fmla="*/ 397425 w 208"/>
                <a:gd name="T3" fmla="*/ 0 h 192"/>
                <a:gd name="T4" fmla="*/ 414704 w 208"/>
                <a:gd name="T5" fmla="*/ 14751 h 192"/>
                <a:gd name="T6" fmla="*/ 431984 w 208"/>
                <a:gd name="T7" fmla="*/ 103254 h 192"/>
                <a:gd name="T8" fmla="*/ 414704 w 208"/>
                <a:gd name="T9" fmla="*/ 103254 h 192"/>
                <a:gd name="T10" fmla="*/ 397425 w 208"/>
                <a:gd name="T11" fmla="*/ 132755 h 192"/>
                <a:gd name="T12" fmla="*/ 414704 w 208"/>
                <a:gd name="T13" fmla="*/ 132755 h 192"/>
                <a:gd name="T14" fmla="*/ 431984 w 208"/>
                <a:gd name="T15" fmla="*/ 118004 h 192"/>
                <a:gd name="T16" fmla="*/ 449263 w 208"/>
                <a:gd name="T17" fmla="*/ 118004 h 192"/>
                <a:gd name="T18" fmla="*/ 449263 w 208"/>
                <a:gd name="T19" fmla="*/ 132755 h 192"/>
                <a:gd name="T20" fmla="*/ 431984 w 208"/>
                <a:gd name="T21" fmla="*/ 177007 h 192"/>
                <a:gd name="T22" fmla="*/ 414704 w 208"/>
                <a:gd name="T23" fmla="*/ 191757 h 192"/>
                <a:gd name="T24" fmla="*/ 380146 w 208"/>
                <a:gd name="T25" fmla="*/ 236009 h 192"/>
                <a:gd name="T26" fmla="*/ 328308 w 208"/>
                <a:gd name="T27" fmla="*/ 295011 h 192"/>
                <a:gd name="T28" fmla="*/ 276470 w 208"/>
                <a:gd name="T29" fmla="*/ 324512 h 192"/>
                <a:gd name="T30" fmla="*/ 224632 w 208"/>
                <a:gd name="T31" fmla="*/ 339262 h 192"/>
                <a:gd name="T32" fmla="*/ 155514 w 208"/>
                <a:gd name="T33" fmla="*/ 324512 h 192"/>
                <a:gd name="T34" fmla="*/ 86397 w 208"/>
                <a:gd name="T35" fmla="*/ 354013 h 192"/>
                <a:gd name="T36" fmla="*/ 69117 w 208"/>
                <a:gd name="T37" fmla="*/ 354013 h 192"/>
                <a:gd name="T38" fmla="*/ 51838 w 208"/>
                <a:gd name="T39" fmla="*/ 324512 h 192"/>
                <a:gd name="T40" fmla="*/ 51838 w 208"/>
                <a:gd name="T41" fmla="*/ 339262 h 192"/>
                <a:gd name="T42" fmla="*/ 34559 w 208"/>
                <a:gd name="T43" fmla="*/ 295011 h 192"/>
                <a:gd name="T44" fmla="*/ 51838 w 208"/>
                <a:gd name="T45" fmla="*/ 295011 h 192"/>
                <a:gd name="T46" fmla="*/ 34559 w 208"/>
                <a:gd name="T47" fmla="*/ 265510 h 192"/>
                <a:gd name="T48" fmla="*/ 0 w 208"/>
                <a:gd name="T49" fmla="*/ 191757 h 192"/>
                <a:gd name="T50" fmla="*/ 0 w 208"/>
                <a:gd name="T51" fmla="*/ 177007 h 192"/>
                <a:gd name="T52" fmla="*/ 0 w 208"/>
                <a:gd name="T53" fmla="*/ 162256 h 192"/>
                <a:gd name="T54" fmla="*/ 17279 w 208"/>
                <a:gd name="T55" fmla="*/ 177007 h 192"/>
                <a:gd name="T56" fmla="*/ 34559 w 208"/>
                <a:gd name="T57" fmla="*/ 191757 h 192"/>
                <a:gd name="T58" fmla="*/ 69117 w 208"/>
                <a:gd name="T59" fmla="*/ 191757 h 192"/>
                <a:gd name="T60" fmla="*/ 86397 w 208"/>
                <a:gd name="T61" fmla="*/ 177007 h 192"/>
                <a:gd name="T62" fmla="*/ 86397 w 208"/>
                <a:gd name="T63" fmla="*/ 73753 h 192"/>
                <a:gd name="T64" fmla="*/ 120955 w 208"/>
                <a:gd name="T65" fmla="*/ 88503 h 192"/>
                <a:gd name="T66" fmla="*/ 103676 w 208"/>
                <a:gd name="T67" fmla="*/ 118004 h 192"/>
                <a:gd name="T68" fmla="*/ 120955 w 208"/>
                <a:gd name="T69" fmla="*/ 132755 h 192"/>
                <a:gd name="T70" fmla="*/ 155514 w 208"/>
                <a:gd name="T71" fmla="*/ 118004 h 192"/>
                <a:gd name="T72" fmla="*/ 190073 w 208"/>
                <a:gd name="T73" fmla="*/ 88503 h 192"/>
                <a:gd name="T74" fmla="*/ 224632 w 208"/>
                <a:gd name="T75" fmla="*/ 88503 h 192"/>
                <a:gd name="T76" fmla="*/ 241911 w 208"/>
                <a:gd name="T77" fmla="*/ 88503 h 192"/>
                <a:gd name="T78" fmla="*/ 311028 w 208"/>
                <a:gd name="T79" fmla="*/ 29501 h 192"/>
                <a:gd name="T80" fmla="*/ 362866 w 208"/>
                <a:gd name="T81" fmla="*/ 0 h 19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8"/>
                <a:gd name="T124" fmla="*/ 0 h 192"/>
                <a:gd name="T125" fmla="*/ 208 w 208"/>
                <a:gd name="T126" fmla="*/ 192 h 19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8" h="192">
                  <a:moveTo>
                    <a:pt x="168" y="0"/>
                  </a:moveTo>
                  <a:lnTo>
                    <a:pt x="184" y="0"/>
                  </a:lnTo>
                  <a:lnTo>
                    <a:pt x="192" y="8"/>
                  </a:lnTo>
                  <a:lnTo>
                    <a:pt x="200" y="56"/>
                  </a:lnTo>
                  <a:lnTo>
                    <a:pt x="192" y="56"/>
                  </a:lnTo>
                  <a:lnTo>
                    <a:pt x="184" y="72"/>
                  </a:lnTo>
                  <a:lnTo>
                    <a:pt x="192" y="72"/>
                  </a:lnTo>
                  <a:lnTo>
                    <a:pt x="200" y="64"/>
                  </a:lnTo>
                  <a:lnTo>
                    <a:pt x="208" y="64"/>
                  </a:lnTo>
                  <a:lnTo>
                    <a:pt x="208" y="72"/>
                  </a:lnTo>
                  <a:lnTo>
                    <a:pt x="200" y="96"/>
                  </a:lnTo>
                  <a:lnTo>
                    <a:pt x="192" y="104"/>
                  </a:lnTo>
                  <a:lnTo>
                    <a:pt x="176" y="128"/>
                  </a:lnTo>
                  <a:lnTo>
                    <a:pt x="152" y="160"/>
                  </a:lnTo>
                  <a:lnTo>
                    <a:pt x="128" y="176"/>
                  </a:lnTo>
                  <a:lnTo>
                    <a:pt x="104" y="184"/>
                  </a:lnTo>
                  <a:lnTo>
                    <a:pt x="72" y="176"/>
                  </a:lnTo>
                  <a:lnTo>
                    <a:pt x="40" y="192"/>
                  </a:lnTo>
                  <a:lnTo>
                    <a:pt x="32" y="192"/>
                  </a:lnTo>
                  <a:lnTo>
                    <a:pt x="24" y="176"/>
                  </a:lnTo>
                  <a:lnTo>
                    <a:pt x="24" y="184"/>
                  </a:lnTo>
                  <a:lnTo>
                    <a:pt x="16" y="160"/>
                  </a:lnTo>
                  <a:lnTo>
                    <a:pt x="24" y="160"/>
                  </a:lnTo>
                  <a:lnTo>
                    <a:pt x="16" y="144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96"/>
                  </a:lnTo>
                  <a:lnTo>
                    <a:pt x="16" y="104"/>
                  </a:lnTo>
                  <a:lnTo>
                    <a:pt x="32" y="104"/>
                  </a:lnTo>
                  <a:lnTo>
                    <a:pt x="40" y="96"/>
                  </a:lnTo>
                  <a:lnTo>
                    <a:pt x="40" y="40"/>
                  </a:lnTo>
                  <a:lnTo>
                    <a:pt x="56" y="48"/>
                  </a:lnTo>
                  <a:lnTo>
                    <a:pt x="48" y="64"/>
                  </a:lnTo>
                  <a:lnTo>
                    <a:pt x="56" y="72"/>
                  </a:lnTo>
                  <a:lnTo>
                    <a:pt x="72" y="64"/>
                  </a:lnTo>
                  <a:lnTo>
                    <a:pt x="88" y="48"/>
                  </a:lnTo>
                  <a:lnTo>
                    <a:pt x="104" y="48"/>
                  </a:lnTo>
                  <a:lnTo>
                    <a:pt x="112" y="48"/>
                  </a:lnTo>
                  <a:lnTo>
                    <a:pt x="144" y="16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5" name="Freeform 85">
              <a:extLst>
                <a:ext uri="{FF2B5EF4-FFF2-40B4-BE49-F238E27FC236}">
                  <a16:creationId xmlns:a16="http://schemas.microsoft.com/office/drawing/2014/main" id="{8DA9D3BB-DFBA-8459-613B-1A8FBB744180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5108576" y="5165726"/>
              <a:ext cx="381000" cy="339725"/>
            </a:xfrm>
            <a:custGeom>
              <a:avLst/>
              <a:gdLst>
                <a:gd name="T0" fmla="*/ 225136 w 176"/>
                <a:gd name="T1" fmla="*/ 221560 h 184"/>
                <a:gd name="T2" fmla="*/ 225136 w 176"/>
                <a:gd name="T3" fmla="*/ 147707 h 184"/>
                <a:gd name="T4" fmla="*/ 259773 w 176"/>
                <a:gd name="T5" fmla="*/ 132936 h 184"/>
                <a:gd name="T6" fmla="*/ 259773 w 176"/>
                <a:gd name="T7" fmla="*/ 44312 h 184"/>
                <a:gd name="T8" fmla="*/ 329045 w 176"/>
                <a:gd name="T9" fmla="*/ 29541 h 184"/>
                <a:gd name="T10" fmla="*/ 329045 w 176"/>
                <a:gd name="T11" fmla="*/ 44312 h 184"/>
                <a:gd name="T12" fmla="*/ 346364 w 176"/>
                <a:gd name="T13" fmla="*/ 29541 h 184"/>
                <a:gd name="T14" fmla="*/ 381000 w 176"/>
                <a:gd name="T15" fmla="*/ 29541 h 184"/>
                <a:gd name="T16" fmla="*/ 346364 w 176"/>
                <a:gd name="T17" fmla="*/ 14771 h 184"/>
                <a:gd name="T18" fmla="*/ 329045 w 176"/>
                <a:gd name="T19" fmla="*/ 14771 h 184"/>
                <a:gd name="T20" fmla="*/ 277091 w 176"/>
                <a:gd name="T21" fmla="*/ 29541 h 184"/>
                <a:gd name="T22" fmla="*/ 207818 w 176"/>
                <a:gd name="T23" fmla="*/ 29541 h 184"/>
                <a:gd name="T24" fmla="*/ 190500 w 176"/>
                <a:gd name="T25" fmla="*/ 14771 h 184"/>
                <a:gd name="T26" fmla="*/ 69273 w 176"/>
                <a:gd name="T27" fmla="*/ 14771 h 184"/>
                <a:gd name="T28" fmla="*/ 51955 w 176"/>
                <a:gd name="T29" fmla="*/ 0 h 184"/>
                <a:gd name="T30" fmla="*/ 0 w 176"/>
                <a:gd name="T31" fmla="*/ 14771 h 184"/>
                <a:gd name="T32" fmla="*/ 0 w 176"/>
                <a:gd name="T33" fmla="*/ 29541 h 184"/>
                <a:gd name="T34" fmla="*/ 86591 w 176"/>
                <a:gd name="T35" fmla="*/ 147707 h 184"/>
                <a:gd name="T36" fmla="*/ 86591 w 176"/>
                <a:gd name="T37" fmla="*/ 192018 h 184"/>
                <a:gd name="T38" fmla="*/ 103909 w 176"/>
                <a:gd name="T39" fmla="*/ 295413 h 184"/>
                <a:gd name="T40" fmla="*/ 138545 w 176"/>
                <a:gd name="T41" fmla="*/ 324954 h 184"/>
                <a:gd name="T42" fmla="*/ 138545 w 176"/>
                <a:gd name="T43" fmla="*/ 310184 h 184"/>
                <a:gd name="T44" fmla="*/ 155864 w 176"/>
                <a:gd name="T45" fmla="*/ 324954 h 184"/>
                <a:gd name="T46" fmla="*/ 173182 w 176"/>
                <a:gd name="T47" fmla="*/ 339725 h 184"/>
                <a:gd name="T48" fmla="*/ 207818 w 176"/>
                <a:gd name="T49" fmla="*/ 339725 h 184"/>
                <a:gd name="T50" fmla="*/ 225136 w 176"/>
                <a:gd name="T51" fmla="*/ 324954 h 184"/>
                <a:gd name="T52" fmla="*/ 225136 w 176"/>
                <a:gd name="T53" fmla="*/ 221560 h 18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76"/>
                <a:gd name="T82" fmla="*/ 0 h 184"/>
                <a:gd name="T83" fmla="*/ 176 w 176"/>
                <a:gd name="T84" fmla="*/ 184 h 18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76" h="184">
                  <a:moveTo>
                    <a:pt x="104" y="120"/>
                  </a:moveTo>
                  <a:lnTo>
                    <a:pt x="104" y="80"/>
                  </a:lnTo>
                  <a:lnTo>
                    <a:pt x="120" y="72"/>
                  </a:lnTo>
                  <a:lnTo>
                    <a:pt x="120" y="24"/>
                  </a:lnTo>
                  <a:lnTo>
                    <a:pt x="152" y="16"/>
                  </a:lnTo>
                  <a:lnTo>
                    <a:pt x="152" y="24"/>
                  </a:lnTo>
                  <a:lnTo>
                    <a:pt x="160" y="16"/>
                  </a:lnTo>
                  <a:lnTo>
                    <a:pt x="176" y="16"/>
                  </a:lnTo>
                  <a:lnTo>
                    <a:pt x="160" y="8"/>
                  </a:lnTo>
                  <a:lnTo>
                    <a:pt x="152" y="8"/>
                  </a:lnTo>
                  <a:lnTo>
                    <a:pt x="128" y="16"/>
                  </a:lnTo>
                  <a:lnTo>
                    <a:pt x="96" y="16"/>
                  </a:lnTo>
                  <a:lnTo>
                    <a:pt x="88" y="8"/>
                  </a:lnTo>
                  <a:lnTo>
                    <a:pt x="32" y="8"/>
                  </a:lnTo>
                  <a:lnTo>
                    <a:pt x="24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40" y="80"/>
                  </a:lnTo>
                  <a:lnTo>
                    <a:pt x="40" y="104"/>
                  </a:lnTo>
                  <a:lnTo>
                    <a:pt x="48" y="160"/>
                  </a:lnTo>
                  <a:lnTo>
                    <a:pt x="64" y="176"/>
                  </a:lnTo>
                  <a:lnTo>
                    <a:pt x="64" y="168"/>
                  </a:lnTo>
                  <a:lnTo>
                    <a:pt x="72" y="176"/>
                  </a:lnTo>
                  <a:lnTo>
                    <a:pt x="80" y="184"/>
                  </a:lnTo>
                  <a:lnTo>
                    <a:pt x="96" y="184"/>
                  </a:lnTo>
                  <a:lnTo>
                    <a:pt x="104" y="176"/>
                  </a:lnTo>
                  <a:lnTo>
                    <a:pt x="104" y="1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6" name="Freeform 86">
              <a:extLst>
                <a:ext uri="{FF2B5EF4-FFF2-40B4-BE49-F238E27FC236}">
                  <a16:creationId xmlns:a16="http://schemas.microsoft.com/office/drawing/2014/main" id="{D3D2634A-C471-5A33-326B-8F60D3E5F668}"/>
                </a:ext>
              </a:extLst>
            </p:cNvPr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5108576" y="4856163"/>
              <a:ext cx="363538" cy="338138"/>
            </a:xfrm>
            <a:custGeom>
              <a:avLst/>
              <a:gdLst>
                <a:gd name="T0" fmla="*/ 51934 w 168"/>
                <a:gd name="T1" fmla="*/ 0 h 184"/>
                <a:gd name="T2" fmla="*/ 121179 w 168"/>
                <a:gd name="T3" fmla="*/ 0 h 184"/>
                <a:gd name="T4" fmla="*/ 138491 w 168"/>
                <a:gd name="T5" fmla="*/ 0 h 184"/>
                <a:gd name="T6" fmla="*/ 155802 w 168"/>
                <a:gd name="T7" fmla="*/ 44105 h 184"/>
                <a:gd name="T8" fmla="*/ 173113 w 168"/>
                <a:gd name="T9" fmla="*/ 58807 h 184"/>
                <a:gd name="T10" fmla="*/ 225047 w 168"/>
                <a:gd name="T11" fmla="*/ 58807 h 184"/>
                <a:gd name="T12" fmla="*/ 225047 w 168"/>
                <a:gd name="T13" fmla="*/ 29403 h 184"/>
                <a:gd name="T14" fmla="*/ 259670 w 168"/>
                <a:gd name="T15" fmla="*/ 29403 h 184"/>
                <a:gd name="T16" fmla="*/ 294293 w 168"/>
                <a:gd name="T17" fmla="*/ 44105 h 184"/>
                <a:gd name="T18" fmla="*/ 294293 w 168"/>
                <a:gd name="T19" fmla="*/ 102912 h 184"/>
                <a:gd name="T20" fmla="*/ 311604 w 168"/>
                <a:gd name="T21" fmla="*/ 132315 h 184"/>
                <a:gd name="T22" fmla="*/ 294293 w 168"/>
                <a:gd name="T23" fmla="*/ 147017 h 184"/>
                <a:gd name="T24" fmla="*/ 363538 w 168"/>
                <a:gd name="T25" fmla="*/ 132315 h 184"/>
                <a:gd name="T26" fmla="*/ 346227 w 168"/>
                <a:gd name="T27" fmla="*/ 191121 h 184"/>
                <a:gd name="T28" fmla="*/ 363538 w 168"/>
                <a:gd name="T29" fmla="*/ 191121 h 184"/>
                <a:gd name="T30" fmla="*/ 294293 w 168"/>
                <a:gd name="T31" fmla="*/ 205823 h 184"/>
                <a:gd name="T32" fmla="*/ 294293 w 168"/>
                <a:gd name="T33" fmla="*/ 294033 h 184"/>
                <a:gd name="T34" fmla="*/ 328915 w 168"/>
                <a:gd name="T35" fmla="*/ 323436 h 184"/>
                <a:gd name="T36" fmla="*/ 276981 w 168"/>
                <a:gd name="T37" fmla="*/ 338138 h 184"/>
                <a:gd name="T38" fmla="*/ 207736 w 168"/>
                <a:gd name="T39" fmla="*/ 338138 h 184"/>
                <a:gd name="T40" fmla="*/ 190425 w 168"/>
                <a:gd name="T41" fmla="*/ 323436 h 184"/>
                <a:gd name="T42" fmla="*/ 69245 w 168"/>
                <a:gd name="T43" fmla="*/ 323436 h 184"/>
                <a:gd name="T44" fmla="*/ 51934 w 168"/>
                <a:gd name="T45" fmla="*/ 308735 h 184"/>
                <a:gd name="T46" fmla="*/ 0 w 168"/>
                <a:gd name="T47" fmla="*/ 323436 h 184"/>
                <a:gd name="T48" fmla="*/ 0 w 168"/>
                <a:gd name="T49" fmla="*/ 279331 h 184"/>
                <a:gd name="T50" fmla="*/ 34623 w 168"/>
                <a:gd name="T51" fmla="*/ 205823 h 184"/>
                <a:gd name="T52" fmla="*/ 51934 w 168"/>
                <a:gd name="T53" fmla="*/ 176420 h 184"/>
                <a:gd name="T54" fmla="*/ 69245 w 168"/>
                <a:gd name="T55" fmla="*/ 147017 h 184"/>
                <a:gd name="T56" fmla="*/ 34623 w 168"/>
                <a:gd name="T57" fmla="*/ 88210 h 184"/>
                <a:gd name="T58" fmla="*/ 51934 w 168"/>
                <a:gd name="T59" fmla="*/ 73508 h 184"/>
                <a:gd name="T60" fmla="*/ 17311 w 168"/>
                <a:gd name="T61" fmla="*/ 14702 h 184"/>
                <a:gd name="T62" fmla="*/ 51934 w 168"/>
                <a:gd name="T63" fmla="*/ 0 h 18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8"/>
                <a:gd name="T97" fmla="*/ 0 h 184"/>
                <a:gd name="T98" fmla="*/ 168 w 168"/>
                <a:gd name="T99" fmla="*/ 184 h 18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8" h="184">
                  <a:moveTo>
                    <a:pt x="24" y="0"/>
                  </a:moveTo>
                  <a:lnTo>
                    <a:pt x="56" y="0"/>
                  </a:lnTo>
                  <a:lnTo>
                    <a:pt x="64" y="0"/>
                  </a:lnTo>
                  <a:lnTo>
                    <a:pt x="72" y="24"/>
                  </a:lnTo>
                  <a:lnTo>
                    <a:pt x="80" y="32"/>
                  </a:lnTo>
                  <a:lnTo>
                    <a:pt x="104" y="32"/>
                  </a:lnTo>
                  <a:lnTo>
                    <a:pt x="104" y="16"/>
                  </a:lnTo>
                  <a:lnTo>
                    <a:pt x="120" y="16"/>
                  </a:lnTo>
                  <a:lnTo>
                    <a:pt x="136" y="24"/>
                  </a:lnTo>
                  <a:lnTo>
                    <a:pt x="136" y="56"/>
                  </a:lnTo>
                  <a:lnTo>
                    <a:pt x="144" y="72"/>
                  </a:lnTo>
                  <a:lnTo>
                    <a:pt x="136" y="80"/>
                  </a:lnTo>
                  <a:lnTo>
                    <a:pt x="168" y="72"/>
                  </a:lnTo>
                  <a:lnTo>
                    <a:pt x="160" y="104"/>
                  </a:lnTo>
                  <a:lnTo>
                    <a:pt x="168" y="104"/>
                  </a:lnTo>
                  <a:lnTo>
                    <a:pt x="136" y="112"/>
                  </a:lnTo>
                  <a:lnTo>
                    <a:pt x="136" y="160"/>
                  </a:lnTo>
                  <a:lnTo>
                    <a:pt x="152" y="176"/>
                  </a:lnTo>
                  <a:lnTo>
                    <a:pt x="128" y="184"/>
                  </a:lnTo>
                  <a:lnTo>
                    <a:pt x="96" y="184"/>
                  </a:lnTo>
                  <a:lnTo>
                    <a:pt x="88" y="176"/>
                  </a:lnTo>
                  <a:lnTo>
                    <a:pt x="32" y="176"/>
                  </a:lnTo>
                  <a:lnTo>
                    <a:pt x="24" y="168"/>
                  </a:lnTo>
                  <a:lnTo>
                    <a:pt x="0" y="176"/>
                  </a:lnTo>
                  <a:lnTo>
                    <a:pt x="0" y="152"/>
                  </a:lnTo>
                  <a:lnTo>
                    <a:pt x="16" y="112"/>
                  </a:lnTo>
                  <a:lnTo>
                    <a:pt x="24" y="96"/>
                  </a:lnTo>
                  <a:lnTo>
                    <a:pt x="32" y="80"/>
                  </a:lnTo>
                  <a:lnTo>
                    <a:pt x="16" y="48"/>
                  </a:lnTo>
                  <a:lnTo>
                    <a:pt x="24" y="40"/>
                  </a:lnTo>
                  <a:lnTo>
                    <a:pt x="8" y="8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7" name="Freeform 87">
              <a:extLst>
                <a:ext uri="{FF2B5EF4-FFF2-40B4-BE49-F238E27FC236}">
                  <a16:creationId xmlns:a16="http://schemas.microsoft.com/office/drawing/2014/main" id="{F4CC0000-FDBE-C00D-A9FA-89E11EE5C271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5126038" y="4811713"/>
              <a:ext cx="17463" cy="44450"/>
            </a:xfrm>
            <a:custGeom>
              <a:avLst/>
              <a:gdLst>
                <a:gd name="T0" fmla="*/ 17463 w 8"/>
                <a:gd name="T1" fmla="*/ 14817 h 24"/>
                <a:gd name="T2" fmla="*/ 0 w 8"/>
                <a:gd name="T3" fmla="*/ 14817 h 24"/>
                <a:gd name="T4" fmla="*/ 0 w 8"/>
                <a:gd name="T5" fmla="*/ 44450 h 24"/>
                <a:gd name="T6" fmla="*/ 0 w 8"/>
                <a:gd name="T7" fmla="*/ 29633 h 24"/>
                <a:gd name="T8" fmla="*/ 0 w 8"/>
                <a:gd name="T9" fmla="*/ 14817 h 24"/>
                <a:gd name="T10" fmla="*/ 17463 w 8"/>
                <a:gd name="T11" fmla="*/ 0 h 24"/>
                <a:gd name="T12" fmla="*/ 17463 w 8"/>
                <a:gd name="T13" fmla="*/ 14817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24"/>
                <a:gd name="T23" fmla="*/ 8 w 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24">
                  <a:moveTo>
                    <a:pt x="8" y="8"/>
                  </a:moveTo>
                  <a:lnTo>
                    <a:pt x="0" y="8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8"/>
                  </a:lnTo>
                  <a:lnTo>
                    <a:pt x="8" y="0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8" name="Freeform 88">
              <a:extLst>
                <a:ext uri="{FF2B5EF4-FFF2-40B4-BE49-F238E27FC236}">
                  <a16:creationId xmlns:a16="http://schemas.microsoft.com/office/drawing/2014/main" id="{5B4A5354-D95B-BF6A-672F-2153A6D402E0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5022851" y="4324351"/>
              <a:ext cx="206375" cy="325438"/>
            </a:xfrm>
            <a:custGeom>
              <a:avLst/>
              <a:gdLst>
                <a:gd name="T0" fmla="*/ 154781 w 96"/>
                <a:gd name="T1" fmla="*/ 0 h 176"/>
                <a:gd name="T2" fmla="*/ 154781 w 96"/>
                <a:gd name="T3" fmla="*/ 14793 h 176"/>
                <a:gd name="T4" fmla="*/ 154781 w 96"/>
                <a:gd name="T5" fmla="*/ 44378 h 176"/>
                <a:gd name="T6" fmla="*/ 137583 w 96"/>
                <a:gd name="T7" fmla="*/ 59171 h 176"/>
                <a:gd name="T8" fmla="*/ 120385 w 96"/>
                <a:gd name="T9" fmla="*/ 118341 h 176"/>
                <a:gd name="T10" fmla="*/ 103188 w 96"/>
                <a:gd name="T11" fmla="*/ 133134 h 176"/>
                <a:gd name="T12" fmla="*/ 85990 w 96"/>
                <a:gd name="T13" fmla="*/ 177512 h 176"/>
                <a:gd name="T14" fmla="*/ 68792 w 96"/>
                <a:gd name="T15" fmla="*/ 192304 h 176"/>
                <a:gd name="T16" fmla="*/ 51594 w 96"/>
                <a:gd name="T17" fmla="*/ 177512 h 176"/>
                <a:gd name="T18" fmla="*/ 34396 w 96"/>
                <a:gd name="T19" fmla="*/ 177512 h 176"/>
                <a:gd name="T20" fmla="*/ 0 w 96"/>
                <a:gd name="T21" fmla="*/ 236682 h 176"/>
                <a:gd name="T22" fmla="*/ 0 w 96"/>
                <a:gd name="T23" fmla="*/ 251475 h 176"/>
                <a:gd name="T24" fmla="*/ 17198 w 96"/>
                <a:gd name="T25" fmla="*/ 251475 h 176"/>
                <a:gd name="T26" fmla="*/ 34396 w 96"/>
                <a:gd name="T27" fmla="*/ 281060 h 176"/>
                <a:gd name="T28" fmla="*/ 34396 w 96"/>
                <a:gd name="T29" fmla="*/ 310645 h 176"/>
                <a:gd name="T30" fmla="*/ 68792 w 96"/>
                <a:gd name="T31" fmla="*/ 310645 h 176"/>
                <a:gd name="T32" fmla="*/ 137583 w 96"/>
                <a:gd name="T33" fmla="*/ 310645 h 176"/>
                <a:gd name="T34" fmla="*/ 206375 w 96"/>
                <a:gd name="T35" fmla="*/ 325438 h 176"/>
                <a:gd name="T36" fmla="*/ 206375 w 96"/>
                <a:gd name="T37" fmla="*/ 281060 h 176"/>
                <a:gd name="T38" fmla="*/ 171979 w 96"/>
                <a:gd name="T39" fmla="*/ 236682 h 176"/>
                <a:gd name="T40" fmla="*/ 171979 w 96"/>
                <a:gd name="T41" fmla="*/ 207097 h 176"/>
                <a:gd name="T42" fmla="*/ 189177 w 96"/>
                <a:gd name="T43" fmla="*/ 162719 h 176"/>
                <a:gd name="T44" fmla="*/ 171979 w 96"/>
                <a:gd name="T45" fmla="*/ 118341 h 176"/>
                <a:gd name="T46" fmla="*/ 154781 w 96"/>
                <a:gd name="T47" fmla="*/ 103548 h 176"/>
                <a:gd name="T48" fmla="*/ 154781 w 96"/>
                <a:gd name="T49" fmla="*/ 88756 h 176"/>
                <a:gd name="T50" fmla="*/ 189177 w 96"/>
                <a:gd name="T51" fmla="*/ 88756 h 176"/>
                <a:gd name="T52" fmla="*/ 171979 w 96"/>
                <a:gd name="T53" fmla="*/ 59171 h 176"/>
                <a:gd name="T54" fmla="*/ 171979 w 96"/>
                <a:gd name="T55" fmla="*/ 14793 h 176"/>
                <a:gd name="T56" fmla="*/ 154781 w 96"/>
                <a:gd name="T57" fmla="*/ 0 h 17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6"/>
                <a:gd name="T88" fmla="*/ 0 h 176"/>
                <a:gd name="T89" fmla="*/ 96 w 96"/>
                <a:gd name="T90" fmla="*/ 176 h 17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6" h="176">
                  <a:moveTo>
                    <a:pt x="72" y="0"/>
                  </a:moveTo>
                  <a:lnTo>
                    <a:pt x="72" y="8"/>
                  </a:lnTo>
                  <a:lnTo>
                    <a:pt x="72" y="24"/>
                  </a:lnTo>
                  <a:lnTo>
                    <a:pt x="64" y="32"/>
                  </a:lnTo>
                  <a:lnTo>
                    <a:pt x="56" y="64"/>
                  </a:lnTo>
                  <a:lnTo>
                    <a:pt x="48" y="72"/>
                  </a:lnTo>
                  <a:lnTo>
                    <a:pt x="40" y="96"/>
                  </a:lnTo>
                  <a:lnTo>
                    <a:pt x="32" y="104"/>
                  </a:lnTo>
                  <a:lnTo>
                    <a:pt x="24" y="96"/>
                  </a:lnTo>
                  <a:lnTo>
                    <a:pt x="16" y="96"/>
                  </a:lnTo>
                  <a:lnTo>
                    <a:pt x="0" y="128"/>
                  </a:lnTo>
                  <a:lnTo>
                    <a:pt x="0" y="136"/>
                  </a:lnTo>
                  <a:lnTo>
                    <a:pt x="8" y="136"/>
                  </a:lnTo>
                  <a:lnTo>
                    <a:pt x="16" y="152"/>
                  </a:lnTo>
                  <a:lnTo>
                    <a:pt x="16" y="168"/>
                  </a:lnTo>
                  <a:lnTo>
                    <a:pt x="32" y="168"/>
                  </a:lnTo>
                  <a:lnTo>
                    <a:pt x="64" y="168"/>
                  </a:lnTo>
                  <a:lnTo>
                    <a:pt x="96" y="176"/>
                  </a:lnTo>
                  <a:lnTo>
                    <a:pt x="96" y="152"/>
                  </a:lnTo>
                  <a:lnTo>
                    <a:pt x="80" y="128"/>
                  </a:lnTo>
                  <a:lnTo>
                    <a:pt x="80" y="112"/>
                  </a:lnTo>
                  <a:lnTo>
                    <a:pt x="88" y="88"/>
                  </a:lnTo>
                  <a:lnTo>
                    <a:pt x="80" y="64"/>
                  </a:lnTo>
                  <a:lnTo>
                    <a:pt x="72" y="56"/>
                  </a:lnTo>
                  <a:lnTo>
                    <a:pt x="72" y="48"/>
                  </a:lnTo>
                  <a:lnTo>
                    <a:pt x="88" y="48"/>
                  </a:lnTo>
                  <a:lnTo>
                    <a:pt x="80" y="32"/>
                  </a:lnTo>
                  <a:lnTo>
                    <a:pt x="80" y="8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9" name="Freeform 89">
              <a:extLst>
                <a:ext uri="{FF2B5EF4-FFF2-40B4-BE49-F238E27FC236}">
                  <a16:creationId xmlns:a16="http://schemas.microsoft.com/office/drawing/2014/main" id="{D6400E0F-80B2-EB21-022A-63097039A49E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5091113" y="4589463"/>
              <a:ext cx="225425" cy="236538"/>
            </a:xfrm>
            <a:custGeom>
              <a:avLst/>
              <a:gdLst>
                <a:gd name="T0" fmla="*/ 52021 w 104"/>
                <a:gd name="T1" fmla="*/ 221754 h 128"/>
                <a:gd name="T2" fmla="*/ 52021 w 104"/>
                <a:gd name="T3" fmla="*/ 236538 h 128"/>
                <a:gd name="T4" fmla="*/ 69362 w 104"/>
                <a:gd name="T5" fmla="*/ 236538 h 128"/>
                <a:gd name="T6" fmla="*/ 86702 w 104"/>
                <a:gd name="T7" fmla="*/ 221754 h 128"/>
                <a:gd name="T8" fmla="*/ 104042 w 104"/>
                <a:gd name="T9" fmla="*/ 236538 h 128"/>
                <a:gd name="T10" fmla="*/ 138723 w 104"/>
                <a:gd name="T11" fmla="*/ 206971 h 128"/>
                <a:gd name="T12" fmla="*/ 156063 w 104"/>
                <a:gd name="T13" fmla="*/ 162620 h 128"/>
                <a:gd name="T14" fmla="*/ 190744 w 104"/>
                <a:gd name="T15" fmla="*/ 118269 h 128"/>
                <a:gd name="T16" fmla="*/ 208085 w 104"/>
                <a:gd name="T17" fmla="*/ 44351 h 128"/>
                <a:gd name="T18" fmla="*/ 225425 w 104"/>
                <a:gd name="T19" fmla="*/ 0 h 128"/>
                <a:gd name="T20" fmla="*/ 190744 w 104"/>
                <a:gd name="T21" fmla="*/ 0 h 128"/>
                <a:gd name="T22" fmla="*/ 173404 w 104"/>
                <a:gd name="T23" fmla="*/ 0 h 128"/>
                <a:gd name="T24" fmla="*/ 156063 w 104"/>
                <a:gd name="T25" fmla="*/ 0 h 128"/>
                <a:gd name="T26" fmla="*/ 138723 w 104"/>
                <a:gd name="T27" fmla="*/ 14784 h 128"/>
                <a:gd name="T28" fmla="*/ 138723 w 104"/>
                <a:gd name="T29" fmla="*/ 59135 h 128"/>
                <a:gd name="T30" fmla="*/ 69362 w 104"/>
                <a:gd name="T31" fmla="*/ 44351 h 128"/>
                <a:gd name="T32" fmla="*/ 86702 w 104"/>
                <a:gd name="T33" fmla="*/ 44351 h 128"/>
                <a:gd name="T34" fmla="*/ 86702 w 104"/>
                <a:gd name="T35" fmla="*/ 59135 h 128"/>
                <a:gd name="T36" fmla="*/ 86702 w 104"/>
                <a:gd name="T37" fmla="*/ 73918 h 128"/>
                <a:gd name="T38" fmla="*/ 86702 w 104"/>
                <a:gd name="T39" fmla="*/ 88702 h 128"/>
                <a:gd name="T40" fmla="*/ 86702 w 104"/>
                <a:gd name="T41" fmla="*/ 133053 h 128"/>
                <a:gd name="T42" fmla="*/ 86702 w 104"/>
                <a:gd name="T43" fmla="*/ 162620 h 128"/>
                <a:gd name="T44" fmla="*/ 52021 w 104"/>
                <a:gd name="T45" fmla="*/ 147836 h 128"/>
                <a:gd name="T46" fmla="*/ 17340 w 104"/>
                <a:gd name="T47" fmla="*/ 177403 h 128"/>
                <a:gd name="T48" fmla="*/ 17340 w 104"/>
                <a:gd name="T49" fmla="*/ 192187 h 128"/>
                <a:gd name="T50" fmla="*/ 0 w 104"/>
                <a:gd name="T51" fmla="*/ 221754 h 128"/>
                <a:gd name="T52" fmla="*/ 34681 w 104"/>
                <a:gd name="T53" fmla="*/ 236538 h 128"/>
                <a:gd name="T54" fmla="*/ 52021 w 104"/>
                <a:gd name="T55" fmla="*/ 221754 h 12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4"/>
                <a:gd name="T85" fmla="*/ 0 h 128"/>
                <a:gd name="T86" fmla="*/ 104 w 104"/>
                <a:gd name="T87" fmla="*/ 128 h 12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4" h="128">
                  <a:moveTo>
                    <a:pt x="24" y="120"/>
                  </a:moveTo>
                  <a:lnTo>
                    <a:pt x="24" y="128"/>
                  </a:lnTo>
                  <a:lnTo>
                    <a:pt x="32" y="128"/>
                  </a:lnTo>
                  <a:lnTo>
                    <a:pt x="40" y="120"/>
                  </a:lnTo>
                  <a:lnTo>
                    <a:pt x="48" y="128"/>
                  </a:lnTo>
                  <a:lnTo>
                    <a:pt x="64" y="112"/>
                  </a:lnTo>
                  <a:lnTo>
                    <a:pt x="72" y="88"/>
                  </a:lnTo>
                  <a:lnTo>
                    <a:pt x="88" y="64"/>
                  </a:lnTo>
                  <a:lnTo>
                    <a:pt x="96" y="24"/>
                  </a:lnTo>
                  <a:lnTo>
                    <a:pt x="104" y="0"/>
                  </a:lnTo>
                  <a:lnTo>
                    <a:pt x="88" y="0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64" y="8"/>
                  </a:lnTo>
                  <a:lnTo>
                    <a:pt x="64" y="32"/>
                  </a:lnTo>
                  <a:lnTo>
                    <a:pt x="32" y="24"/>
                  </a:lnTo>
                  <a:lnTo>
                    <a:pt x="40" y="24"/>
                  </a:lnTo>
                  <a:lnTo>
                    <a:pt x="40" y="32"/>
                  </a:lnTo>
                  <a:lnTo>
                    <a:pt x="40" y="40"/>
                  </a:lnTo>
                  <a:lnTo>
                    <a:pt x="40" y="48"/>
                  </a:lnTo>
                  <a:lnTo>
                    <a:pt x="40" y="72"/>
                  </a:lnTo>
                  <a:lnTo>
                    <a:pt x="40" y="88"/>
                  </a:lnTo>
                  <a:lnTo>
                    <a:pt x="24" y="80"/>
                  </a:lnTo>
                  <a:lnTo>
                    <a:pt x="8" y="96"/>
                  </a:lnTo>
                  <a:lnTo>
                    <a:pt x="8" y="104"/>
                  </a:lnTo>
                  <a:lnTo>
                    <a:pt x="0" y="120"/>
                  </a:lnTo>
                  <a:lnTo>
                    <a:pt x="16" y="128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0" name="Freeform 90">
              <a:extLst>
                <a:ext uri="{FF2B5EF4-FFF2-40B4-BE49-F238E27FC236}">
                  <a16:creationId xmlns:a16="http://schemas.microsoft.com/office/drawing/2014/main" id="{D82A2158-723C-A1F0-DE21-FB9B087C2177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5022851" y="4633913"/>
              <a:ext cx="155575" cy="177800"/>
            </a:xfrm>
            <a:custGeom>
              <a:avLst/>
              <a:gdLst>
                <a:gd name="T0" fmla="*/ 155575 w 72"/>
                <a:gd name="T1" fmla="*/ 0 h 96"/>
                <a:gd name="T2" fmla="*/ 155575 w 72"/>
                <a:gd name="T3" fmla="*/ 14817 h 96"/>
                <a:gd name="T4" fmla="*/ 155575 w 72"/>
                <a:gd name="T5" fmla="*/ 29633 h 96"/>
                <a:gd name="T6" fmla="*/ 155575 w 72"/>
                <a:gd name="T7" fmla="*/ 44450 h 96"/>
                <a:gd name="T8" fmla="*/ 155575 w 72"/>
                <a:gd name="T9" fmla="*/ 88900 h 96"/>
                <a:gd name="T10" fmla="*/ 155575 w 72"/>
                <a:gd name="T11" fmla="*/ 118533 h 96"/>
                <a:gd name="T12" fmla="*/ 121003 w 72"/>
                <a:gd name="T13" fmla="*/ 103717 h 96"/>
                <a:gd name="T14" fmla="*/ 86431 w 72"/>
                <a:gd name="T15" fmla="*/ 133350 h 96"/>
                <a:gd name="T16" fmla="*/ 86431 w 72"/>
                <a:gd name="T17" fmla="*/ 148167 h 96"/>
                <a:gd name="T18" fmla="*/ 69144 w 72"/>
                <a:gd name="T19" fmla="*/ 177800 h 96"/>
                <a:gd name="T20" fmla="*/ 34572 w 72"/>
                <a:gd name="T21" fmla="*/ 133350 h 96"/>
                <a:gd name="T22" fmla="*/ 0 w 72"/>
                <a:gd name="T23" fmla="*/ 74083 h 96"/>
                <a:gd name="T24" fmla="*/ 17286 w 72"/>
                <a:gd name="T25" fmla="*/ 74083 h 96"/>
                <a:gd name="T26" fmla="*/ 17286 w 72"/>
                <a:gd name="T27" fmla="*/ 59267 h 96"/>
                <a:gd name="T28" fmla="*/ 34572 w 72"/>
                <a:gd name="T29" fmla="*/ 29633 h 96"/>
                <a:gd name="T30" fmla="*/ 69144 w 72"/>
                <a:gd name="T31" fmla="*/ 29633 h 96"/>
                <a:gd name="T32" fmla="*/ 69144 w 72"/>
                <a:gd name="T33" fmla="*/ 0 h 96"/>
                <a:gd name="T34" fmla="*/ 138289 w 72"/>
                <a:gd name="T35" fmla="*/ 0 h 96"/>
                <a:gd name="T36" fmla="*/ 155575 w 72"/>
                <a:gd name="T37" fmla="*/ 0 h 9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2"/>
                <a:gd name="T58" fmla="*/ 0 h 96"/>
                <a:gd name="T59" fmla="*/ 72 w 72"/>
                <a:gd name="T60" fmla="*/ 96 h 9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2" h="96">
                  <a:moveTo>
                    <a:pt x="72" y="0"/>
                  </a:moveTo>
                  <a:lnTo>
                    <a:pt x="72" y="8"/>
                  </a:lnTo>
                  <a:lnTo>
                    <a:pt x="72" y="16"/>
                  </a:lnTo>
                  <a:lnTo>
                    <a:pt x="72" y="24"/>
                  </a:lnTo>
                  <a:lnTo>
                    <a:pt x="72" y="48"/>
                  </a:lnTo>
                  <a:lnTo>
                    <a:pt x="72" y="64"/>
                  </a:lnTo>
                  <a:lnTo>
                    <a:pt x="56" y="56"/>
                  </a:lnTo>
                  <a:lnTo>
                    <a:pt x="40" y="72"/>
                  </a:lnTo>
                  <a:lnTo>
                    <a:pt x="40" y="80"/>
                  </a:lnTo>
                  <a:lnTo>
                    <a:pt x="32" y="96"/>
                  </a:lnTo>
                  <a:lnTo>
                    <a:pt x="16" y="72"/>
                  </a:lnTo>
                  <a:lnTo>
                    <a:pt x="0" y="40"/>
                  </a:lnTo>
                  <a:lnTo>
                    <a:pt x="8" y="40"/>
                  </a:lnTo>
                  <a:lnTo>
                    <a:pt x="8" y="32"/>
                  </a:lnTo>
                  <a:lnTo>
                    <a:pt x="16" y="16"/>
                  </a:lnTo>
                  <a:lnTo>
                    <a:pt x="32" y="16"/>
                  </a:lnTo>
                  <a:lnTo>
                    <a:pt x="32" y="0"/>
                  </a:lnTo>
                  <a:lnTo>
                    <a:pt x="64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1" name="Freeform 91">
              <a:extLst>
                <a:ext uri="{FF2B5EF4-FFF2-40B4-BE49-F238E27FC236}">
                  <a16:creationId xmlns:a16="http://schemas.microsoft.com/office/drawing/2014/main" id="{BD6B1BC8-C54B-7E1B-8DA0-E95F4C210069}"/>
                </a:ext>
              </a:extLst>
            </p:cNvPr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5040313" y="4633913"/>
              <a:ext cx="50800" cy="30163"/>
            </a:xfrm>
            <a:custGeom>
              <a:avLst/>
              <a:gdLst>
                <a:gd name="T0" fmla="*/ 50800 w 24"/>
                <a:gd name="T1" fmla="*/ 30163 h 16"/>
                <a:gd name="T2" fmla="*/ 50800 w 24"/>
                <a:gd name="T3" fmla="*/ 0 h 16"/>
                <a:gd name="T4" fmla="*/ 16933 w 24"/>
                <a:gd name="T5" fmla="*/ 0 h 16"/>
                <a:gd name="T6" fmla="*/ 0 w 24"/>
                <a:gd name="T7" fmla="*/ 30163 h 16"/>
                <a:gd name="T8" fmla="*/ 50800 w 24"/>
                <a:gd name="T9" fmla="*/ 30163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6"/>
                <a:gd name="T17" fmla="*/ 24 w 24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6">
                  <a:moveTo>
                    <a:pt x="24" y="16"/>
                  </a:moveTo>
                  <a:lnTo>
                    <a:pt x="24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24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2" name="Freeform 92">
              <a:extLst>
                <a:ext uri="{FF2B5EF4-FFF2-40B4-BE49-F238E27FC236}">
                  <a16:creationId xmlns:a16="http://schemas.microsoft.com/office/drawing/2014/main" id="{611B7898-3533-B5B0-4576-453055D0F8B5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4676776" y="4383088"/>
              <a:ext cx="138113" cy="177800"/>
            </a:xfrm>
            <a:custGeom>
              <a:avLst/>
              <a:gdLst>
                <a:gd name="T0" fmla="*/ 120849 w 64"/>
                <a:gd name="T1" fmla="*/ 118533 h 96"/>
                <a:gd name="T2" fmla="*/ 103585 w 64"/>
                <a:gd name="T3" fmla="*/ 59267 h 96"/>
                <a:gd name="T4" fmla="*/ 86321 w 64"/>
                <a:gd name="T5" fmla="*/ 0 h 96"/>
                <a:gd name="T6" fmla="*/ 17264 w 64"/>
                <a:gd name="T7" fmla="*/ 0 h 96"/>
                <a:gd name="T8" fmla="*/ 17264 w 64"/>
                <a:gd name="T9" fmla="*/ 44450 h 96"/>
                <a:gd name="T10" fmla="*/ 34528 w 64"/>
                <a:gd name="T11" fmla="*/ 74083 h 96"/>
                <a:gd name="T12" fmla="*/ 0 w 64"/>
                <a:gd name="T13" fmla="*/ 118533 h 96"/>
                <a:gd name="T14" fmla="*/ 17264 w 64"/>
                <a:gd name="T15" fmla="*/ 162983 h 96"/>
                <a:gd name="T16" fmla="*/ 0 w 64"/>
                <a:gd name="T17" fmla="*/ 162983 h 96"/>
                <a:gd name="T18" fmla="*/ 34528 w 64"/>
                <a:gd name="T19" fmla="*/ 177800 h 96"/>
                <a:gd name="T20" fmla="*/ 103585 w 64"/>
                <a:gd name="T21" fmla="*/ 148167 h 96"/>
                <a:gd name="T22" fmla="*/ 120849 w 64"/>
                <a:gd name="T23" fmla="*/ 148167 h 96"/>
                <a:gd name="T24" fmla="*/ 138113 w 64"/>
                <a:gd name="T25" fmla="*/ 133350 h 96"/>
                <a:gd name="T26" fmla="*/ 120849 w 64"/>
                <a:gd name="T27" fmla="*/ 118533 h 9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4"/>
                <a:gd name="T43" fmla="*/ 0 h 96"/>
                <a:gd name="T44" fmla="*/ 64 w 64"/>
                <a:gd name="T45" fmla="*/ 96 h 9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4" h="96">
                  <a:moveTo>
                    <a:pt x="56" y="64"/>
                  </a:moveTo>
                  <a:lnTo>
                    <a:pt x="48" y="32"/>
                  </a:lnTo>
                  <a:lnTo>
                    <a:pt x="40" y="0"/>
                  </a:lnTo>
                  <a:lnTo>
                    <a:pt x="8" y="0"/>
                  </a:lnTo>
                  <a:lnTo>
                    <a:pt x="8" y="24"/>
                  </a:lnTo>
                  <a:lnTo>
                    <a:pt x="16" y="40"/>
                  </a:lnTo>
                  <a:lnTo>
                    <a:pt x="0" y="64"/>
                  </a:lnTo>
                  <a:lnTo>
                    <a:pt x="8" y="88"/>
                  </a:lnTo>
                  <a:lnTo>
                    <a:pt x="0" y="88"/>
                  </a:lnTo>
                  <a:lnTo>
                    <a:pt x="16" y="96"/>
                  </a:lnTo>
                  <a:lnTo>
                    <a:pt x="48" y="80"/>
                  </a:lnTo>
                  <a:lnTo>
                    <a:pt x="56" y="80"/>
                  </a:lnTo>
                  <a:lnTo>
                    <a:pt x="64" y="72"/>
                  </a:lnTo>
                  <a:lnTo>
                    <a:pt x="56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3" name="Freeform 93">
              <a:extLst>
                <a:ext uri="{FF2B5EF4-FFF2-40B4-BE49-F238E27FC236}">
                  <a16:creationId xmlns:a16="http://schemas.microsoft.com/office/drawing/2014/main" id="{D077F10D-3191-439B-A8D1-7CC98BEEE3D2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62501" y="4383088"/>
              <a:ext cx="69850" cy="133350"/>
            </a:xfrm>
            <a:custGeom>
              <a:avLst/>
              <a:gdLst>
                <a:gd name="T0" fmla="*/ 34925 w 32"/>
                <a:gd name="T1" fmla="*/ 118533 h 72"/>
                <a:gd name="T2" fmla="*/ 17463 w 32"/>
                <a:gd name="T3" fmla="*/ 59267 h 72"/>
                <a:gd name="T4" fmla="*/ 0 w 32"/>
                <a:gd name="T5" fmla="*/ 0 h 72"/>
                <a:gd name="T6" fmla="*/ 34925 w 32"/>
                <a:gd name="T7" fmla="*/ 0 h 72"/>
                <a:gd name="T8" fmla="*/ 34925 w 32"/>
                <a:gd name="T9" fmla="*/ 14817 h 72"/>
                <a:gd name="T10" fmla="*/ 52387 w 32"/>
                <a:gd name="T11" fmla="*/ 29633 h 72"/>
                <a:gd name="T12" fmla="*/ 52387 w 32"/>
                <a:gd name="T13" fmla="*/ 74083 h 72"/>
                <a:gd name="T14" fmla="*/ 69850 w 32"/>
                <a:gd name="T15" fmla="*/ 133350 h 72"/>
                <a:gd name="T16" fmla="*/ 52387 w 32"/>
                <a:gd name="T17" fmla="*/ 133350 h 72"/>
                <a:gd name="T18" fmla="*/ 34925 w 32"/>
                <a:gd name="T19" fmla="*/ 118533 h 7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72"/>
                <a:gd name="T32" fmla="*/ 32 w 32"/>
                <a:gd name="T33" fmla="*/ 72 h 7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72">
                  <a:moveTo>
                    <a:pt x="16" y="64"/>
                  </a:moveTo>
                  <a:lnTo>
                    <a:pt x="8" y="32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24" y="16"/>
                  </a:lnTo>
                  <a:lnTo>
                    <a:pt x="24" y="40"/>
                  </a:lnTo>
                  <a:lnTo>
                    <a:pt x="32" y="72"/>
                  </a:lnTo>
                  <a:lnTo>
                    <a:pt x="24" y="72"/>
                  </a:lnTo>
                  <a:lnTo>
                    <a:pt x="16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4" name="Freeform 94">
              <a:extLst>
                <a:ext uri="{FF2B5EF4-FFF2-40B4-BE49-F238E27FC236}">
                  <a16:creationId xmlns:a16="http://schemas.microsoft.com/office/drawing/2014/main" id="{D65282D3-28B6-B798-68D0-FB777A5F4BB3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4849813" y="4310063"/>
              <a:ext cx="328613" cy="265113"/>
            </a:xfrm>
            <a:custGeom>
              <a:avLst/>
              <a:gdLst>
                <a:gd name="T0" fmla="*/ 328613 w 152"/>
                <a:gd name="T1" fmla="*/ 14729 h 144"/>
                <a:gd name="T2" fmla="*/ 311318 w 152"/>
                <a:gd name="T3" fmla="*/ 0 h 144"/>
                <a:gd name="T4" fmla="*/ 294022 w 152"/>
                <a:gd name="T5" fmla="*/ 0 h 144"/>
                <a:gd name="T6" fmla="*/ 276727 w 152"/>
                <a:gd name="T7" fmla="*/ 14729 h 144"/>
                <a:gd name="T8" fmla="*/ 224840 w 152"/>
                <a:gd name="T9" fmla="*/ 14729 h 144"/>
                <a:gd name="T10" fmla="*/ 190250 w 152"/>
                <a:gd name="T11" fmla="*/ 29457 h 144"/>
                <a:gd name="T12" fmla="*/ 155659 w 152"/>
                <a:gd name="T13" fmla="*/ 14729 h 144"/>
                <a:gd name="T14" fmla="*/ 121068 w 152"/>
                <a:gd name="T15" fmla="*/ 14729 h 144"/>
                <a:gd name="T16" fmla="*/ 86477 w 152"/>
                <a:gd name="T17" fmla="*/ 0 h 144"/>
                <a:gd name="T18" fmla="*/ 51886 w 152"/>
                <a:gd name="T19" fmla="*/ 0 h 144"/>
                <a:gd name="T20" fmla="*/ 34591 w 152"/>
                <a:gd name="T21" fmla="*/ 29457 h 144"/>
                <a:gd name="T22" fmla="*/ 34591 w 152"/>
                <a:gd name="T23" fmla="*/ 58914 h 144"/>
                <a:gd name="T24" fmla="*/ 34591 w 152"/>
                <a:gd name="T25" fmla="*/ 88371 h 144"/>
                <a:gd name="T26" fmla="*/ 0 w 152"/>
                <a:gd name="T27" fmla="*/ 147285 h 144"/>
                <a:gd name="T28" fmla="*/ 0 w 152"/>
                <a:gd name="T29" fmla="*/ 206199 h 144"/>
                <a:gd name="T30" fmla="*/ 34591 w 152"/>
                <a:gd name="T31" fmla="*/ 206199 h 144"/>
                <a:gd name="T32" fmla="*/ 69182 w 152"/>
                <a:gd name="T33" fmla="*/ 220927 h 144"/>
                <a:gd name="T34" fmla="*/ 86477 w 152"/>
                <a:gd name="T35" fmla="*/ 250385 h 144"/>
                <a:gd name="T36" fmla="*/ 86477 w 152"/>
                <a:gd name="T37" fmla="*/ 265113 h 144"/>
                <a:gd name="T38" fmla="*/ 172954 w 152"/>
                <a:gd name="T39" fmla="*/ 250385 h 144"/>
                <a:gd name="T40" fmla="*/ 207545 w 152"/>
                <a:gd name="T41" fmla="*/ 191470 h 144"/>
                <a:gd name="T42" fmla="*/ 224840 w 152"/>
                <a:gd name="T43" fmla="*/ 191470 h 144"/>
                <a:gd name="T44" fmla="*/ 242136 w 152"/>
                <a:gd name="T45" fmla="*/ 206199 h 144"/>
                <a:gd name="T46" fmla="*/ 259431 w 152"/>
                <a:gd name="T47" fmla="*/ 191470 h 144"/>
                <a:gd name="T48" fmla="*/ 276727 w 152"/>
                <a:gd name="T49" fmla="*/ 147285 h 144"/>
                <a:gd name="T50" fmla="*/ 294022 w 152"/>
                <a:gd name="T51" fmla="*/ 132557 h 144"/>
                <a:gd name="T52" fmla="*/ 311318 w 152"/>
                <a:gd name="T53" fmla="*/ 73642 h 144"/>
                <a:gd name="T54" fmla="*/ 328613 w 152"/>
                <a:gd name="T55" fmla="*/ 58914 h 144"/>
                <a:gd name="T56" fmla="*/ 328613 w 152"/>
                <a:gd name="T57" fmla="*/ 29457 h 144"/>
                <a:gd name="T58" fmla="*/ 328613 w 152"/>
                <a:gd name="T59" fmla="*/ 14729 h 14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2"/>
                <a:gd name="T91" fmla="*/ 0 h 144"/>
                <a:gd name="T92" fmla="*/ 152 w 152"/>
                <a:gd name="T93" fmla="*/ 144 h 14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2" h="144">
                  <a:moveTo>
                    <a:pt x="152" y="8"/>
                  </a:moveTo>
                  <a:lnTo>
                    <a:pt x="144" y="0"/>
                  </a:lnTo>
                  <a:lnTo>
                    <a:pt x="136" y="0"/>
                  </a:lnTo>
                  <a:lnTo>
                    <a:pt x="128" y="8"/>
                  </a:lnTo>
                  <a:lnTo>
                    <a:pt x="104" y="8"/>
                  </a:lnTo>
                  <a:lnTo>
                    <a:pt x="88" y="16"/>
                  </a:lnTo>
                  <a:lnTo>
                    <a:pt x="72" y="8"/>
                  </a:lnTo>
                  <a:lnTo>
                    <a:pt x="56" y="8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16" y="16"/>
                  </a:lnTo>
                  <a:lnTo>
                    <a:pt x="16" y="32"/>
                  </a:lnTo>
                  <a:lnTo>
                    <a:pt x="16" y="48"/>
                  </a:lnTo>
                  <a:lnTo>
                    <a:pt x="0" y="80"/>
                  </a:lnTo>
                  <a:lnTo>
                    <a:pt x="0" y="112"/>
                  </a:lnTo>
                  <a:lnTo>
                    <a:pt x="16" y="112"/>
                  </a:lnTo>
                  <a:lnTo>
                    <a:pt x="32" y="120"/>
                  </a:lnTo>
                  <a:lnTo>
                    <a:pt x="40" y="136"/>
                  </a:lnTo>
                  <a:lnTo>
                    <a:pt x="40" y="144"/>
                  </a:lnTo>
                  <a:lnTo>
                    <a:pt x="80" y="136"/>
                  </a:lnTo>
                  <a:lnTo>
                    <a:pt x="96" y="104"/>
                  </a:lnTo>
                  <a:lnTo>
                    <a:pt x="104" y="104"/>
                  </a:lnTo>
                  <a:lnTo>
                    <a:pt x="112" y="112"/>
                  </a:lnTo>
                  <a:lnTo>
                    <a:pt x="120" y="104"/>
                  </a:lnTo>
                  <a:lnTo>
                    <a:pt x="128" y="80"/>
                  </a:lnTo>
                  <a:lnTo>
                    <a:pt x="136" y="72"/>
                  </a:lnTo>
                  <a:lnTo>
                    <a:pt x="144" y="40"/>
                  </a:lnTo>
                  <a:lnTo>
                    <a:pt x="152" y="32"/>
                  </a:lnTo>
                  <a:lnTo>
                    <a:pt x="152" y="16"/>
                  </a:lnTo>
                  <a:lnTo>
                    <a:pt x="152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5" name="Freeform 95">
              <a:extLst>
                <a:ext uri="{FF2B5EF4-FFF2-40B4-BE49-F238E27FC236}">
                  <a16:creationId xmlns:a16="http://schemas.microsoft.com/office/drawing/2014/main" id="{021762F3-F819-E4EE-EBD5-3CB89DDDBAD3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4797426" y="4338638"/>
              <a:ext cx="87313" cy="177800"/>
            </a:xfrm>
            <a:custGeom>
              <a:avLst/>
              <a:gdLst>
                <a:gd name="T0" fmla="*/ 17463 w 40"/>
                <a:gd name="T1" fmla="*/ 118533 h 96"/>
                <a:gd name="T2" fmla="*/ 17463 w 40"/>
                <a:gd name="T3" fmla="*/ 74083 h 96"/>
                <a:gd name="T4" fmla="*/ 0 w 40"/>
                <a:gd name="T5" fmla="*/ 59267 h 96"/>
                <a:gd name="T6" fmla="*/ 0 w 40"/>
                <a:gd name="T7" fmla="*/ 44450 h 96"/>
                <a:gd name="T8" fmla="*/ 17463 w 40"/>
                <a:gd name="T9" fmla="*/ 29633 h 96"/>
                <a:gd name="T10" fmla="*/ 34925 w 40"/>
                <a:gd name="T11" fmla="*/ 29633 h 96"/>
                <a:gd name="T12" fmla="*/ 52388 w 40"/>
                <a:gd name="T13" fmla="*/ 14817 h 96"/>
                <a:gd name="T14" fmla="*/ 69850 w 40"/>
                <a:gd name="T15" fmla="*/ 0 h 96"/>
                <a:gd name="T16" fmla="*/ 87313 w 40"/>
                <a:gd name="T17" fmla="*/ 29633 h 96"/>
                <a:gd name="T18" fmla="*/ 87313 w 40"/>
                <a:gd name="T19" fmla="*/ 59267 h 96"/>
                <a:gd name="T20" fmla="*/ 52388 w 40"/>
                <a:gd name="T21" fmla="*/ 118533 h 96"/>
                <a:gd name="T22" fmla="*/ 52388 w 40"/>
                <a:gd name="T23" fmla="*/ 177800 h 96"/>
                <a:gd name="T24" fmla="*/ 34925 w 40"/>
                <a:gd name="T25" fmla="*/ 177800 h 96"/>
                <a:gd name="T26" fmla="*/ 17463 w 40"/>
                <a:gd name="T27" fmla="*/ 118533 h 9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0"/>
                <a:gd name="T43" fmla="*/ 0 h 96"/>
                <a:gd name="T44" fmla="*/ 40 w 40"/>
                <a:gd name="T45" fmla="*/ 96 h 9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0" h="96">
                  <a:moveTo>
                    <a:pt x="8" y="64"/>
                  </a:moveTo>
                  <a:lnTo>
                    <a:pt x="8" y="40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6" y="16"/>
                  </a:lnTo>
                  <a:lnTo>
                    <a:pt x="24" y="8"/>
                  </a:lnTo>
                  <a:lnTo>
                    <a:pt x="32" y="0"/>
                  </a:lnTo>
                  <a:lnTo>
                    <a:pt x="40" y="16"/>
                  </a:lnTo>
                  <a:lnTo>
                    <a:pt x="40" y="32"/>
                  </a:lnTo>
                  <a:lnTo>
                    <a:pt x="24" y="64"/>
                  </a:lnTo>
                  <a:lnTo>
                    <a:pt x="24" y="96"/>
                  </a:lnTo>
                  <a:lnTo>
                    <a:pt x="16" y="96"/>
                  </a:lnTo>
                  <a:lnTo>
                    <a:pt x="8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6" name="Freeform 96">
              <a:extLst>
                <a:ext uri="{FF2B5EF4-FFF2-40B4-BE49-F238E27FC236}">
                  <a16:creationId xmlns:a16="http://schemas.microsoft.com/office/drawing/2014/main" id="{645FE096-1ABF-A9D8-435C-3F3ACBEA3E96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4521201" y="4398963"/>
              <a:ext cx="190500" cy="176213"/>
            </a:xfrm>
            <a:custGeom>
              <a:avLst/>
              <a:gdLst>
                <a:gd name="T0" fmla="*/ 173182 w 88"/>
                <a:gd name="T1" fmla="*/ 146844 h 96"/>
                <a:gd name="T2" fmla="*/ 155864 w 88"/>
                <a:gd name="T3" fmla="*/ 102791 h 96"/>
                <a:gd name="T4" fmla="*/ 190500 w 88"/>
                <a:gd name="T5" fmla="*/ 58738 h 96"/>
                <a:gd name="T6" fmla="*/ 173182 w 88"/>
                <a:gd name="T7" fmla="*/ 29369 h 96"/>
                <a:gd name="T8" fmla="*/ 155864 w 88"/>
                <a:gd name="T9" fmla="*/ 14684 h 96"/>
                <a:gd name="T10" fmla="*/ 121227 w 88"/>
                <a:gd name="T11" fmla="*/ 14684 h 96"/>
                <a:gd name="T12" fmla="*/ 103909 w 88"/>
                <a:gd name="T13" fmla="*/ 0 h 96"/>
                <a:gd name="T14" fmla="*/ 86591 w 88"/>
                <a:gd name="T15" fmla="*/ 0 h 96"/>
                <a:gd name="T16" fmla="*/ 69273 w 88"/>
                <a:gd name="T17" fmla="*/ 0 h 96"/>
                <a:gd name="T18" fmla="*/ 51955 w 88"/>
                <a:gd name="T19" fmla="*/ 0 h 96"/>
                <a:gd name="T20" fmla="*/ 34636 w 88"/>
                <a:gd name="T21" fmla="*/ 0 h 96"/>
                <a:gd name="T22" fmla="*/ 17318 w 88"/>
                <a:gd name="T23" fmla="*/ 0 h 96"/>
                <a:gd name="T24" fmla="*/ 17318 w 88"/>
                <a:gd name="T25" fmla="*/ 29369 h 96"/>
                <a:gd name="T26" fmla="*/ 34636 w 88"/>
                <a:gd name="T27" fmla="*/ 58738 h 96"/>
                <a:gd name="T28" fmla="*/ 17318 w 88"/>
                <a:gd name="T29" fmla="*/ 58738 h 96"/>
                <a:gd name="T30" fmla="*/ 17318 w 88"/>
                <a:gd name="T31" fmla="*/ 73422 h 96"/>
                <a:gd name="T32" fmla="*/ 0 w 88"/>
                <a:gd name="T33" fmla="*/ 88107 h 96"/>
                <a:gd name="T34" fmla="*/ 17318 w 88"/>
                <a:gd name="T35" fmla="*/ 117475 h 96"/>
                <a:gd name="T36" fmla="*/ 34636 w 88"/>
                <a:gd name="T37" fmla="*/ 132160 h 96"/>
                <a:gd name="T38" fmla="*/ 34636 w 88"/>
                <a:gd name="T39" fmla="*/ 176213 h 96"/>
                <a:gd name="T40" fmla="*/ 86591 w 88"/>
                <a:gd name="T41" fmla="*/ 146844 h 96"/>
                <a:gd name="T42" fmla="*/ 121227 w 88"/>
                <a:gd name="T43" fmla="*/ 146844 h 96"/>
                <a:gd name="T44" fmla="*/ 155864 w 88"/>
                <a:gd name="T45" fmla="*/ 146844 h 96"/>
                <a:gd name="T46" fmla="*/ 173182 w 88"/>
                <a:gd name="T47" fmla="*/ 146844 h 9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8"/>
                <a:gd name="T73" fmla="*/ 0 h 96"/>
                <a:gd name="T74" fmla="*/ 88 w 88"/>
                <a:gd name="T75" fmla="*/ 96 h 9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8" h="96">
                  <a:moveTo>
                    <a:pt x="80" y="80"/>
                  </a:moveTo>
                  <a:lnTo>
                    <a:pt x="72" y="56"/>
                  </a:lnTo>
                  <a:lnTo>
                    <a:pt x="88" y="32"/>
                  </a:lnTo>
                  <a:lnTo>
                    <a:pt x="80" y="16"/>
                  </a:lnTo>
                  <a:lnTo>
                    <a:pt x="72" y="8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6"/>
                  </a:lnTo>
                  <a:lnTo>
                    <a:pt x="16" y="32"/>
                  </a:lnTo>
                  <a:lnTo>
                    <a:pt x="8" y="32"/>
                  </a:lnTo>
                  <a:lnTo>
                    <a:pt x="8" y="40"/>
                  </a:lnTo>
                  <a:lnTo>
                    <a:pt x="0" y="48"/>
                  </a:lnTo>
                  <a:lnTo>
                    <a:pt x="8" y="64"/>
                  </a:lnTo>
                  <a:lnTo>
                    <a:pt x="16" y="72"/>
                  </a:lnTo>
                  <a:lnTo>
                    <a:pt x="16" y="96"/>
                  </a:lnTo>
                  <a:lnTo>
                    <a:pt x="40" y="80"/>
                  </a:lnTo>
                  <a:lnTo>
                    <a:pt x="56" y="80"/>
                  </a:lnTo>
                  <a:lnTo>
                    <a:pt x="72" y="80"/>
                  </a:lnTo>
                  <a:lnTo>
                    <a:pt x="80" y="8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7" name="Freeform 97">
              <a:extLst>
                <a:ext uri="{FF2B5EF4-FFF2-40B4-BE49-F238E27FC236}">
                  <a16:creationId xmlns:a16="http://schemas.microsoft.com/office/drawing/2014/main" id="{201ABCB5-5136-A4CE-8F35-C9E7424E1207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4433888" y="4457701"/>
              <a:ext cx="122238" cy="117475"/>
            </a:xfrm>
            <a:custGeom>
              <a:avLst/>
              <a:gdLst>
                <a:gd name="T0" fmla="*/ 87313 w 56"/>
                <a:gd name="T1" fmla="*/ 29369 h 64"/>
                <a:gd name="T2" fmla="*/ 104775 w 56"/>
                <a:gd name="T3" fmla="*/ 58738 h 64"/>
                <a:gd name="T4" fmla="*/ 122238 w 56"/>
                <a:gd name="T5" fmla="*/ 73422 h 64"/>
                <a:gd name="T6" fmla="*/ 122238 w 56"/>
                <a:gd name="T7" fmla="*/ 117475 h 64"/>
                <a:gd name="T8" fmla="*/ 104775 w 56"/>
                <a:gd name="T9" fmla="*/ 102791 h 64"/>
                <a:gd name="T10" fmla="*/ 0 w 56"/>
                <a:gd name="T11" fmla="*/ 44053 h 64"/>
                <a:gd name="T12" fmla="*/ 34925 w 56"/>
                <a:gd name="T13" fmla="*/ 0 h 64"/>
                <a:gd name="T14" fmla="*/ 52388 w 56"/>
                <a:gd name="T15" fmla="*/ 0 h 64"/>
                <a:gd name="T16" fmla="*/ 69850 w 56"/>
                <a:gd name="T17" fmla="*/ 29369 h 64"/>
                <a:gd name="T18" fmla="*/ 87313 w 56"/>
                <a:gd name="T19" fmla="*/ 29369 h 6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"/>
                <a:gd name="T31" fmla="*/ 0 h 64"/>
                <a:gd name="T32" fmla="*/ 56 w 56"/>
                <a:gd name="T33" fmla="*/ 64 h 6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" h="64">
                  <a:moveTo>
                    <a:pt x="40" y="16"/>
                  </a:moveTo>
                  <a:lnTo>
                    <a:pt x="48" y="32"/>
                  </a:lnTo>
                  <a:lnTo>
                    <a:pt x="56" y="40"/>
                  </a:lnTo>
                  <a:lnTo>
                    <a:pt x="56" y="64"/>
                  </a:lnTo>
                  <a:lnTo>
                    <a:pt x="48" y="56"/>
                  </a:lnTo>
                  <a:lnTo>
                    <a:pt x="0" y="24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2" y="16"/>
                  </a:lnTo>
                  <a:lnTo>
                    <a:pt x="4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8" name="Freeform 98">
              <a:extLst>
                <a:ext uri="{FF2B5EF4-FFF2-40B4-BE49-F238E27FC236}">
                  <a16:creationId xmlns:a16="http://schemas.microsoft.com/office/drawing/2014/main" id="{269A0110-2D02-1CD4-6CDF-7D13CF74A614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4278313" y="4221163"/>
              <a:ext cx="173038" cy="117475"/>
            </a:xfrm>
            <a:custGeom>
              <a:avLst/>
              <a:gdLst>
                <a:gd name="T0" fmla="*/ 155734 w 80"/>
                <a:gd name="T1" fmla="*/ 58738 h 64"/>
                <a:gd name="T2" fmla="*/ 173038 w 80"/>
                <a:gd name="T3" fmla="*/ 117475 h 64"/>
                <a:gd name="T4" fmla="*/ 103823 w 80"/>
                <a:gd name="T5" fmla="*/ 117475 h 64"/>
                <a:gd name="T6" fmla="*/ 17304 w 80"/>
                <a:gd name="T7" fmla="*/ 117475 h 64"/>
                <a:gd name="T8" fmla="*/ 17304 w 80"/>
                <a:gd name="T9" fmla="*/ 102791 h 64"/>
                <a:gd name="T10" fmla="*/ 51911 w 80"/>
                <a:gd name="T11" fmla="*/ 88106 h 64"/>
                <a:gd name="T12" fmla="*/ 86519 w 80"/>
                <a:gd name="T13" fmla="*/ 102791 h 64"/>
                <a:gd name="T14" fmla="*/ 103823 w 80"/>
                <a:gd name="T15" fmla="*/ 88106 h 64"/>
                <a:gd name="T16" fmla="*/ 51911 w 80"/>
                <a:gd name="T17" fmla="*/ 73422 h 64"/>
                <a:gd name="T18" fmla="*/ 17304 w 80"/>
                <a:gd name="T19" fmla="*/ 88106 h 64"/>
                <a:gd name="T20" fmla="*/ 17304 w 80"/>
                <a:gd name="T21" fmla="*/ 73422 h 64"/>
                <a:gd name="T22" fmla="*/ 0 w 80"/>
                <a:gd name="T23" fmla="*/ 58738 h 64"/>
                <a:gd name="T24" fmla="*/ 34608 w 80"/>
                <a:gd name="T25" fmla="*/ 29369 h 64"/>
                <a:gd name="T26" fmla="*/ 51911 w 80"/>
                <a:gd name="T27" fmla="*/ 14684 h 64"/>
                <a:gd name="T28" fmla="*/ 86519 w 80"/>
                <a:gd name="T29" fmla="*/ 0 h 64"/>
                <a:gd name="T30" fmla="*/ 121127 w 80"/>
                <a:gd name="T31" fmla="*/ 29369 h 64"/>
                <a:gd name="T32" fmla="*/ 155734 w 80"/>
                <a:gd name="T33" fmla="*/ 58738 h 6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0"/>
                <a:gd name="T52" fmla="*/ 0 h 64"/>
                <a:gd name="T53" fmla="*/ 80 w 80"/>
                <a:gd name="T54" fmla="*/ 64 h 6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0" h="64">
                  <a:moveTo>
                    <a:pt x="72" y="32"/>
                  </a:moveTo>
                  <a:lnTo>
                    <a:pt x="80" y="64"/>
                  </a:lnTo>
                  <a:lnTo>
                    <a:pt x="48" y="64"/>
                  </a:lnTo>
                  <a:lnTo>
                    <a:pt x="8" y="64"/>
                  </a:lnTo>
                  <a:lnTo>
                    <a:pt x="8" y="56"/>
                  </a:lnTo>
                  <a:lnTo>
                    <a:pt x="24" y="48"/>
                  </a:lnTo>
                  <a:lnTo>
                    <a:pt x="40" y="56"/>
                  </a:lnTo>
                  <a:lnTo>
                    <a:pt x="48" y="48"/>
                  </a:lnTo>
                  <a:lnTo>
                    <a:pt x="24" y="40"/>
                  </a:lnTo>
                  <a:lnTo>
                    <a:pt x="8" y="48"/>
                  </a:lnTo>
                  <a:lnTo>
                    <a:pt x="8" y="40"/>
                  </a:lnTo>
                  <a:lnTo>
                    <a:pt x="0" y="32"/>
                  </a:lnTo>
                  <a:lnTo>
                    <a:pt x="16" y="16"/>
                  </a:lnTo>
                  <a:lnTo>
                    <a:pt x="24" y="8"/>
                  </a:lnTo>
                  <a:lnTo>
                    <a:pt x="40" y="0"/>
                  </a:lnTo>
                  <a:lnTo>
                    <a:pt x="56" y="16"/>
                  </a:lnTo>
                  <a:lnTo>
                    <a:pt x="72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9" name="Freeform 99">
              <a:extLst>
                <a:ext uri="{FF2B5EF4-FFF2-40B4-BE49-F238E27FC236}">
                  <a16:creationId xmlns:a16="http://schemas.microsoft.com/office/drawing/2014/main" id="{523ED58E-6552-30E4-F53E-0BD21F51A34E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4295776" y="3925888"/>
              <a:ext cx="346075" cy="354013"/>
            </a:xfrm>
            <a:custGeom>
              <a:avLst/>
              <a:gdLst>
                <a:gd name="T0" fmla="*/ 138430 w 160"/>
                <a:gd name="T1" fmla="*/ 354013 h 192"/>
                <a:gd name="T2" fmla="*/ 103822 w 160"/>
                <a:gd name="T3" fmla="*/ 324512 h 192"/>
                <a:gd name="T4" fmla="*/ 69215 w 160"/>
                <a:gd name="T5" fmla="*/ 295011 h 192"/>
                <a:gd name="T6" fmla="*/ 34608 w 160"/>
                <a:gd name="T7" fmla="*/ 309761 h 192"/>
                <a:gd name="T8" fmla="*/ 17304 w 160"/>
                <a:gd name="T9" fmla="*/ 324512 h 192"/>
                <a:gd name="T10" fmla="*/ 17304 w 160"/>
                <a:gd name="T11" fmla="*/ 265510 h 192"/>
                <a:gd name="T12" fmla="*/ 17304 w 160"/>
                <a:gd name="T13" fmla="*/ 221258 h 192"/>
                <a:gd name="T14" fmla="*/ 17304 w 160"/>
                <a:gd name="T15" fmla="*/ 191757 h 192"/>
                <a:gd name="T16" fmla="*/ 0 w 160"/>
                <a:gd name="T17" fmla="*/ 177007 h 192"/>
                <a:gd name="T18" fmla="*/ 17304 w 160"/>
                <a:gd name="T19" fmla="*/ 162256 h 192"/>
                <a:gd name="T20" fmla="*/ 121126 w 160"/>
                <a:gd name="T21" fmla="*/ 162256 h 192"/>
                <a:gd name="T22" fmla="*/ 121126 w 160"/>
                <a:gd name="T23" fmla="*/ 118004 h 192"/>
                <a:gd name="T24" fmla="*/ 155734 w 160"/>
                <a:gd name="T25" fmla="*/ 103254 h 192"/>
                <a:gd name="T26" fmla="*/ 155734 w 160"/>
                <a:gd name="T27" fmla="*/ 29501 h 192"/>
                <a:gd name="T28" fmla="*/ 242252 w 160"/>
                <a:gd name="T29" fmla="*/ 29501 h 192"/>
                <a:gd name="T30" fmla="*/ 242252 w 160"/>
                <a:gd name="T31" fmla="*/ 0 h 192"/>
                <a:gd name="T32" fmla="*/ 346075 w 160"/>
                <a:gd name="T33" fmla="*/ 59002 h 192"/>
                <a:gd name="T34" fmla="*/ 294164 w 160"/>
                <a:gd name="T35" fmla="*/ 59002 h 192"/>
                <a:gd name="T36" fmla="*/ 328771 w 160"/>
                <a:gd name="T37" fmla="*/ 324512 h 192"/>
                <a:gd name="T38" fmla="*/ 190341 w 160"/>
                <a:gd name="T39" fmla="*/ 324512 h 192"/>
                <a:gd name="T40" fmla="*/ 173038 w 160"/>
                <a:gd name="T41" fmla="*/ 339262 h 192"/>
                <a:gd name="T42" fmla="*/ 155734 w 160"/>
                <a:gd name="T43" fmla="*/ 324512 h 192"/>
                <a:gd name="T44" fmla="*/ 138430 w 160"/>
                <a:gd name="T45" fmla="*/ 354013 h 1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60"/>
                <a:gd name="T70" fmla="*/ 0 h 192"/>
                <a:gd name="T71" fmla="*/ 160 w 160"/>
                <a:gd name="T72" fmla="*/ 192 h 19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60" h="192">
                  <a:moveTo>
                    <a:pt x="64" y="192"/>
                  </a:moveTo>
                  <a:lnTo>
                    <a:pt x="48" y="176"/>
                  </a:lnTo>
                  <a:lnTo>
                    <a:pt x="32" y="160"/>
                  </a:lnTo>
                  <a:lnTo>
                    <a:pt x="16" y="168"/>
                  </a:lnTo>
                  <a:lnTo>
                    <a:pt x="8" y="176"/>
                  </a:lnTo>
                  <a:lnTo>
                    <a:pt x="8" y="144"/>
                  </a:lnTo>
                  <a:lnTo>
                    <a:pt x="8" y="120"/>
                  </a:lnTo>
                  <a:lnTo>
                    <a:pt x="8" y="104"/>
                  </a:lnTo>
                  <a:lnTo>
                    <a:pt x="0" y="96"/>
                  </a:lnTo>
                  <a:lnTo>
                    <a:pt x="8" y="88"/>
                  </a:lnTo>
                  <a:lnTo>
                    <a:pt x="56" y="88"/>
                  </a:lnTo>
                  <a:lnTo>
                    <a:pt x="56" y="64"/>
                  </a:lnTo>
                  <a:lnTo>
                    <a:pt x="72" y="56"/>
                  </a:lnTo>
                  <a:lnTo>
                    <a:pt x="72" y="16"/>
                  </a:lnTo>
                  <a:lnTo>
                    <a:pt x="112" y="16"/>
                  </a:lnTo>
                  <a:lnTo>
                    <a:pt x="112" y="0"/>
                  </a:lnTo>
                  <a:lnTo>
                    <a:pt x="160" y="32"/>
                  </a:lnTo>
                  <a:lnTo>
                    <a:pt x="136" y="32"/>
                  </a:lnTo>
                  <a:lnTo>
                    <a:pt x="152" y="176"/>
                  </a:lnTo>
                  <a:lnTo>
                    <a:pt x="88" y="176"/>
                  </a:lnTo>
                  <a:lnTo>
                    <a:pt x="80" y="184"/>
                  </a:lnTo>
                  <a:lnTo>
                    <a:pt x="72" y="176"/>
                  </a:lnTo>
                  <a:lnTo>
                    <a:pt x="64" y="19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0" name="Freeform 100">
              <a:extLst>
                <a:ext uri="{FF2B5EF4-FFF2-40B4-BE49-F238E27FC236}">
                  <a16:creationId xmlns:a16="http://schemas.microsoft.com/office/drawing/2014/main" id="{E9FEDDF1-B35E-12C7-BC6A-25A1022F7B48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4295776" y="3911601"/>
              <a:ext cx="242888" cy="192088"/>
            </a:xfrm>
            <a:custGeom>
              <a:avLst/>
              <a:gdLst>
                <a:gd name="T0" fmla="*/ 242888 w 112"/>
                <a:gd name="T1" fmla="*/ 0 h 104"/>
                <a:gd name="T2" fmla="*/ 242888 w 112"/>
                <a:gd name="T3" fmla="*/ 14776 h 104"/>
                <a:gd name="T4" fmla="*/ 242888 w 112"/>
                <a:gd name="T5" fmla="*/ 44328 h 104"/>
                <a:gd name="T6" fmla="*/ 156142 w 112"/>
                <a:gd name="T7" fmla="*/ 44328 h 104"/>
                <a:gd name="T8" fmla="*/ 156142 w 112"/>
                <a:gd name="T9" fmla="*/ 118208 h 104"/>
                <a:gd name="T10" fmla="*/ 121444 w 112"/>
                <a:gd name="T11" fmla="*/ 132984 h 104"/>
                <a:gd name="T12" fmla="*/ 121444 w 112"/>
                <a:gd name="T13" fmla="*/ 177312 h 104"/>
                <a:gd name="T14" fmla="*/ 17349 w 112"/>
                <a:gd name="T15" fmla="*/ 177312 h 104"/>
                <a:gd name="T16" fmla="*/ 0 w 112"/>
                <a:gd name="T17" fmla="*/ 192088 h 104"/>
                <a:gd name="T18" fmla="*/ 0 w 112"/>
                <a:gd name="T19" fmla="*/ 162536 h 104"/>
                <a:gd name="T20" fmla="*/ 69397 w 112"/>
                <a:gd name="T21" fmla="*/ 88656 h 104"/>
                <a:gd name="T22" fmla="*/ 86746 w 112"/>
                <a:gd name="T23" fmla="*/ 44328 h 104"/>
                <a:gd name="T24" fmla="*/ 104095 w 112"/>
                <a:gd name="T25" fmla="*/ 29552 h 104"/>
                <a:gd name="T26" fmla="*/ 121444 w 112"/>
                <a:gd name="T27" fmla="*/ 0 h 104"/>
                <a:gd name="T28" fmla="*/ 242888 w 112"/>
                <a:gd name="T29" fmla="*/ 0 h 10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2"/>
                <a:gd name="T46" fmla="*/ 0 h 104"/>
                <a:gd name="T47" fmla="*/ 112 w 112"/>
                <a:gd name="T48" fmla="*/ 104 h 10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2" h="104">
                  <a:moveTo>
                    <a:pt x="112" y="0"/>
                  </a:moveTo>
                  <a:lnTo>
                    <a:pt x="112" y="8"/>
                  </a:lnTo>
                  <a:lnTo>
                    <a:pt x="112" y="24"/>
                  </a:lnTo>
                  <a:lnTo>
                    <a:pt x="72" y="24"/>
                  </a:lnTo>
                  <a:lnTo>
                    <a:pt x="72" y="64"/>
                  </a:lnTo>
                  <a:lnTo>
                    <a:pt x="56" y="72"/>
                  </a:lnTo>
                  <a:lnTo>
                    <a:pt x="56" y="96"/>
                  </a:lnTo>
                  <a:lnTo>
                    <a:pt x="8" y="96"/>
                  </a:lnTo>
                  <a:lnTo>
                    <a:pt x="0" y="104"/>
                  </a:lnTo>
                  <a:lnTo>
                    <a:pt x="0" y="88"/>
                  </a:lnTo>
                  <a:lnTo>
                    <a:pt x="32" y="48"/>
                  </a:lnTo>
                  <a:lnTo>
                    <a:pt x="40" y="24"/>
                  </a:lnTo>
                  <a:lnTo>
                    <a:pt x="48" y="16"/>
                  </a:lnTo>
                  <a:lnTo>
                    <a:pt x="56" y="0"/>
                  </a:lnTo>
                  <a:lnTo>
                    <a:pt x="11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1" name="Freeform 101">
              <a:extLst>
                <a:ext uri="{FF2B5EF4-FFF2-40B4-BE49-F238E27FC236}">
                  <a16:creationId xmlns:a16="http://schemas.microsoft.com/office/drawing/2014/main" id="{31BD4649-42CE-6BBA-BDD7-7592D1B93BE1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987926" y="3646488"/>
              <a:ext cx="103188" cy="190500"/>
            </a:xfrm>
            <a:custGeom>
              <a:avLst/>
              <a:gdLst>
                <a:gd name="T0" fmla="*/ 103188 w 48"/>
                <a:gd name="T1" fmla="*/ 117231 h 104"/>
                <a:gd name="T2" fmla="*/ 103188 w 48"/>
                <a:gd name="T3" fmla="*/ 146538 h 104"/>
                <a:gd name="T4" fmla="*/ 68792 w 48"/>
                <a:gd name="T5" fmla="*/ 161192 h 104"/>
                <a:gd name="T6" fmla="*/ 68792 w 48"/>
                <a:gd name="T7" fmla="*/ 190500 h 104"/>
                <a:gd name="T8" fmla="*/ 51594 w 48"/>
                <a:gd name="T9" fmla="*/ 190500 h 104"/>
                <a:gd name="T10" fmla="*/ 51594 w 48"/>
                <a:gd name="T11" fmla="*/ 146538 h 104"/>
                <a:gd name="T12" fmla="*/ 17198 w 48"/>
                <a:gd name="T13" fmla="*/ 131885 h 104"/>
                <a:gd name="T14" fmla="*/ 0 w 48"/>
                <a:gd name="T15" fmla="*/ 102577 h 104"/>
                <a:gd name="T16" fmla="*/ 34396 w 48"/>
                <a:gd name="T17" fmla="*/ 73269 h 104"/>
                <a:gd name="T18" fmla="*/ 34396 w 48"/>
                <a:gd name="T19" fmla="*/ 29308 h 104"/>
                <a:gd name="T20" fmla="*/ 34396 w 48"/>
                <a:gd name="T21" fmla="*/ 14654 h 104"/>
                <a:gd name="T22" fmla="*/ 68792 w 48"/>
                <a:gd name="T23" fmla="*/ 0 h 104"/>
                <a:gd name="T24" fmla="*/ 68792 w 48"/>
                <a:gd name="T25" fmla="*/ 14654 h 104"/>
                <a:gd name="T26" fmla="*/ 85990 w 48"/>
                <a:gd name="T27" fmla="*/ 14654 h 104"/>
                <a:gd name="T28" fmla="*/ 103188 w 48"/>
                <a:gd name="T29" fmla="*/ 14654 h 104"/>
                <a:gd name="T30" fmla="*/ 85990 w 48"/>
                <a:gd name="T31" fmla="*/ 29308 h 104"/>
                <a:gd name="T32" fmla="*/ 103188 w 48"/>
                <a:gd name="T33" fmla="*/ 58615 h 104"/>
                <a:gd name="T34" fmla="*/ 68792 w 48"/>
                <a:gd name="T35" fmla="*/ 87923 h 104"/>
                <a:gd name="T36" fmla="*/ 68792 w 48"/>
                <a:gd name="T37" fmla="*/ 102577 h 104"/>
                <a:gd name="T38" fmla="*/ 103188 w 48"/>
                <a:gd name="T39" fmla="*/ 102577 h 104"/>
                <a:gd name="T40" fmla="*/ 103188 w 48"/>
                <a:gd name="T41" fmla="*/ 117231 h 10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8"/>
                <a:gd name="T64" fmla="*/ 0 h 104"/>
                <a:gd name="T65" fmla="*/ 48 w 48"/>
                <a:gd name="T66" fmla="*/ 104 h 10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8" h="104">
                  <a:moveTo>
                    <a:pt x="48" y="64"/>
                  </a:moveTo>
                  <a:lnTo>
                    <a:pt x="48" y="80"/>
                  </a:lnTo>
                  <a:lnTo>
                    <a:pt x="32" y="88"/>
                  </a:lnTo>
                  <a:lnTo>
                    <a:pt x="32" y="104"/>
                  </a:lnTo>
                  <a:lnTo>
                    <a:pt x="24" y="104"/>
                  </a:lnTo>
                  <a:lnTo>
                    <a:pt x="24" y="80"/>
                  </a:lnTo>
                  <a:lnTo>
                    <a:pt x="8" y="72"/>
                  </a:lnTo>
                  <a:lnTo>
                    <a:pt x="0" y="56"/>
                  </a:lnTo>
                  <a:lnTo>
                    <a:pt x="16" y="40"/>
                  </a:lnTo>
                  <a:lnTo>
                    <a:pt x="16" y="16"/>
                  </a:lnTo>
                  <a:lnTo>
                    <a:pt x="16" y="8"/>
                  </a:lnTo>
                  <a:lnTo>
                    <a:pt x="32" y="0"/>
                  </a:lnTo>
                  <a:lnTo>
                    <a:pt x="32" y="8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40" y="16"/>
                  </a:lnTo>
                  <a:lnTo>
                    <a:pt x="48" y="32"/>
                  </a:lnTo>
                  <a:lnTo>
                    <a:pt x="32" y="48"/>
                  </a:lnTo>
                  <a:lnTo>
                    <a:pt x="32" y="56"/>
                  </a:lnTo>
                  <a:lnTo>
                    <a:pt x="48" y="56"/>
                  </a:lnTo>
                  <a:lnTo>
                    <a:pt x="48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2" name="Freeform 102">
              <a:extLst>
                <a:ext uri="{FF2B5EF4-FFF2-40B4-BE49-F238E27FC236}">
                  <a16:creationId xmlns:a16="http://schemas.microsoft.com/office/drawing/2014/main" id="{0BD99602-360B-B89A-F9A3-84837C18BD4F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4556126" y="3468688"/>
              <a:ext cx="328613" cy="220663"/>
            </a:xfrm>
            <a:custGeom>
              <a:avLst/>
              <a:gdLst>
                <a:gd name="T0" fmla="*/ 242136 w 152"/>
                <a:gd name="T1" fmla="*/ 29422 h 120"/>
                <a:gd name="T2" fmla="*/ 328613 w 152"/>
                <a:gd name="T3" fmla="*/ 29422 h 120"/>
                <a:gd name="T4" fmla="*/ 328613 w 152"/>
                <a:gd name="T5" fmla="*/ 58843 h 120"/>
                <a:gd name="T6" fmla="*/ 276727 w 152"/>
                <a:gd name="T7" fmla="*/ 73554 h 120"/>
                <a:gd name="T8" fmla="*/ 224840 w 152"/>
                <a:gd name="T9" fmla="*/ 117687 h 120"/>
                <a:gd name="T10" fmla="*/ 242136 w 152"/>
                <a:gd name="T11" fmla="*/ 147109 h 120"/>
                <a:gd name="T12" fmla="*/ 172954 w 152"/>
                <a:gd name="T13" fmla="*/ 191241 h 120"/>
                <a:gd name="T14" fmla="*/ 121068 w 152"/>
                <a:gd name="T15" fmla="*/ 191241 h 120"/>
                <a:gd name="T16" fmla="*/ 86477 w 152"/>
                <a:gd name="T17" fmla="*/ 220663 h 120"/>
                <a:gd name="T18" fmla="*/ 51886 w 152"/>
                <a:gd name="T19" fmla="*/ 176530 h 120"/>
                <a:gd name="T20" fmla="*/ 51886 w 152"/>
                <a:gd name="T21" fmla="*/ 147109 h 120"/>
                <a:gd name="T22" fmla="*/ 51886 w 152"/>
                <a:gd name="T23" fmla="*/ 117687 h 120"/>
                <a:gd name="T24" fmla="*/ 69182 w 152"/>
                <a:gd name="T25" fmla="*/ 102976 h 120"/>
                <a:gd name="T26" fmla="*/ 69182 w 152"/>
                <a:gd name="T27" fmla="*/ 88265 h 120"/>
                <a:gd name="T28" fmla="*/ 86477 w 152"/>
                <a:gd name="T29" fmla="*/ 58843 h 120"/>
                <a:gd name="T30" fmla="*/ 69182 w 152"/>
                <a:gd name="T31" fmla="*/ 58843 h 120"/>
                <a:gd name="T32" fmla="*/ 17295 w 152"/>
                <a:gd name="T33" fmla="*/ 58843 h 120"/>
                <a:gd name="T34" fmla="*/ 0 w 152"/>
                <a:gd name="T35" fmla="*/ 29422 h 120"/>
                <a:gd name="T36" fmla="*/ 17295 w 152"/>
                <a:gd name="T37" fmla="*/ 14711 h 120"/>
                <a:gd name="T38" fmla="*/ 34591 w 152"/>
                <a:gd name="T39" fmla="*/ 0 h 120"/>
                <a:gd name="T40" fmla="*/ 138363 w 152"/>
                <a:gd name="T41" fmla="*/ 14711 h 120"/>
                <a:gd name="T42" fmla="*/ 190250 w 152"/>
                <a:gd name="T43" fmla="*/ 14711 h 120"/>
                <a:gd name="T44" fmla="*/ 207545 w 152"/>
                <a:gd name="T45" fmla="*/ 14711 h 120"/>
                <a:gd name="T46" fmla="*/ 242136 w 152"/>
                <a:gd name="T47" fmla="*/ 29422 h 12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2"/>
                <a:gd name="T73" fmla="*/ 0 h 120"/>
                <a:gd name="T74" fmla="*/ 152 w 152"/>
                <a:gd name="T75" fmla="*/ 120 h 12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2" h="120">
                  <a:moveTo>
                    <a:pt x="112" y="16"/>
                  </a:moveTo>
                  <a:lnTo>
                    <a:pt x="152" y="16"/>
                  </a:lnTo>
                  <a:lnTo>
                    <a:pt x="152" y="32"/>
                  </a:lnTo>
                  <a:lnTo>
                    <a:pt x="128" y="40"/>
                  </a:lnTo>
                  <a:lnTo>
                    <a:pt x="104" y="64"/>
                  </a:lnTo>
                  <a:lnTo>
                    <a:pt x="112" y="80"/>
                  </a:lnTo>
                  <a:lnTo>
                    <a:pt x="80" y="104"/>
                  </a:lnTo>
                  <a:lnTo>
                    <a:pt x="56" y="104"/>
                  </a:lnTo>
                  <a:lnTo>
                    <a:pt x="40" y="120"/>
                  </a:lnTo>
                  <a:lnTo>
                    <a:pt x="24" y="96"/>
                  </a:lnTo>
                  <a:lnTo>
                    <a:pt x="24" y="80"/>
                  </a:lnTo>
                  <a:lnTo>
                    <a:pt x="24" y="64"/>
                  </a:lnTo>
                  <a:lnTo>
                    <a:pt x="32" y="56"/>
                  </a:lnTo>
                  <a:lnTo>
                    <a:pt x="32" y="48"/>
                  </a:lnTo>
                  <a:lnTo>
                    <a:pt x="40" y="32"/>
                  </a:lnTo>
                  <a:lnTo>
                    <a:pt x="32" y="32"/>
                  </a:lnTo>
                  <a:lnTo>
                    <a:pt x="8" y="32"/>
                  </a:lnTo>
                  <a:lnTo>
                    <a:pt x="0" y="16"/>
                  </a:lnTo>
                  <a:lnTo>
                    <a:pt x="8" y="8"/>
                  </a:lnTo>
                  <a:lnTo>
                    <a:pt x="16" y="0"/>
                  </a:lnTo>
                  <a:lnTo>
                    <a:pt x="64" y="8"/>
                  </a:lnTo>
                  <a:lnTo>
                    <a:pt x="88" y="8"/>
                  </a:lnTo>
                  <a:lnTo>
                    <a:pt x="96" y="8"/>
                  </a:lnTo>
                  <a:lnTo>
                    <a:pt x="112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3" name="Freeform 103">
              <a:extLst>
                <a:ext uri="{FF2B5EF4-FFF2-40B4-BE49-F238E27FC236}">
                  <a16:creationId xmlns:a16="http://schemas.microsoft.com/office/drawing/2014/main" id="{61222DDB-5F65-CB31-25A2-0CD8BC7816AB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4538663" y="3527426"/>
              <a:ext cx="103188" cy="133350"/>
            </a:xfrm>
            <a:custGeom>
              <a:avLst/>
              <a:gdLst>
                <a:gd name="T0" fmla="*/ 68792 w 48"/>
                <a:gd name="T1" fmla="*/ 88900 h 72"/>
                <a:gd name="T2" fmla="*/ 68792 w 48"/>
                <a:gd name="T3" fmla="*/ 59267 h 72"/>
                <a:gd name="T4" fmla="*/ 85990 w 48"/>
                <a:gd name="T5" fmla="*/ 44450 h 72"/>
                <a:gd name="T6" fmla="*/ 85990 w 48"/>
                <a:gd name="T7" fmla="*/ 29633 h 72"/>
                <a:gd name="T8" fmla="*/ 103188 w 48"/>
                <a:gd name="T9" fmla="*/ 0 h 72"/>
                <a:gd name="T10" fmla="*/ 85990 w 48"/>
                <a:gd name="T11" fmla="*/ 0 h 72"/>
                <a:gd name="T12" fmla="*/ 34396 w 48"/>
                <a:gd name="T13" fmla="*/ 0 h 72"/>
                <a:gd name="T14" fmla="*/ 34396 w 48"/>
                <a:gd name="T15" fmla="*/ 14817 h 72"/>
                <a:gd name="T16" fmla="*/ 0 w 48"/>
                <a:gd name="T17" fmla="*/ 74083 h 72"/>
                <a:gd name="T18" fmla="*/ 17198 w 48"/>
                <a:gd name="T19" fmla="*/ 88900 h 72"/>
                <a:gd name="T20" fmla="*/ 17198 w 48"/>
                <a:gd name="T21" fmla="*/ 133350 h 72"/>
                <a:gd name="T22" fmla="*/ 68792 w 48"/>
                <a:gd name="T23" fmla="*/ 118533 h 72"/>
                <a:gd name="T24" fmla="*/ 68792 w 48"/>
                <a:gd name="T25" fmla="*/ 88900 h 7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"/>
                <a:gd name="T40" fmla="*/ 0 h 72"/>
                <a:gd name="T41" fmla="*/ 48 w 48"/>
                <a:gd name="T42" fmla="*/ 72 h 7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" h="72">
                  <a:moveTo>
                    <a:pt x="32" y="48"/>
                  </a:moveTo>
                  <a:lnTo>
                    <a:pt x="32" y="32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0" y="40"/>
                  </a:lnTo>
                  <a:lnTo>
                    <a:pt x="8" y="48"/>
                  </a:lnTo>
                  <a:lnTo>
                    <a:pt x="8" y="72"/>
                  </a:lnTo>
                  <a:lnTo>
                    <a:pt x="32" y="64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4" name="Freeform 104">
              <a:extLst>
                <a:ext uri="{FF2B5EF4-FFF2-40B4-BE49-F238E27FC236}">
                  <a16:creationId xmlns:a16="http://schemas.microsoft.com/office/drawing/2014/main" id="{3642AC51-5F67-305C-0C2C-1BA5577660F7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4694238" y="3262313"/>
              <a:ext cx="311150" cy="236538"/>
            </a:xfrm>
            <a:custGeom>
              <a:avLst/>
              <a:gdLst>
                <a:gd name="T0" fmla="*/ 311150 w 144"/>
                <a:gd name="T1" fmla="*/ 103485 h 128"/>
                <a:gd name="T2" fmla="*/ 311150 w 144"/>
                <a:gd name="T3" fmla="*/ 73918 h 128"/>
                <a:gd name="T4" fmla="*/ 276578 w 144"/>
                <a:gd name="T5" fmla="*/ 44351 h 128"/>
                <a:gd name="T6" fmla="*/ 259292 w 144"/>
                <a:gd name="T7" fmla="*/ 44351 h 128"/>
                <a:gd name="T8" fmla="*/ 242006 w 144"/>
                <a:gd name="T9" fmla="*/ 44351 h 128"/>
                <a:gd name="T10" fmla="*/ 242006 w 144"/>
                <a:gd name="T11" fmla="*/ 29567 h 128"/>
                <a:gd name="T12" fmla="*/ 224719 w 144"/>
                <a:gd name="T13" fmla="*/ 44351 h 128"/>
                <a:gd name="T14" fmla="*/ 190147 w 144"/>
                <a:gd name="T15" fmla="*/ 14784 h 128"/>
                <a:gd name="T16" fmla="*/ 190147 w 144"/>
                <a:gd name="T17" fmla="*/ 0 h 128"/>
                <a:gd name="T18" fmla="*/ 172861 w 144"/>
                <a:gd name="T19" fmla="*/ 14784 h 128"/>
                <a:gd name="T20" fmla="*/ 155575 w 144"/>
                <a:gd name="T21" fmla="*/ 29567 h 128"/>
                <a:gd name="T22" fmla="*/ 121003 w 144"/>
                <a:gd name="T23" fmla="*/ 44351 h 128"/>
                <a:gd name="T24" fmla="*/ 121003 w 144"/>
                <a:gd name="T25" fmla="*/ 59135 h 128"/>
                <a:gd name="T26" fmla="*/ 86431 w 144"/>
                <a:gd name="T27" fmla="*/ 59135 h 128"/>
                <a:gd name="T28" fmla="*/ 86431 w 144"/>
                <a:gd name="T29" fmla="*/ 44351 h 128"/>
                <a:gd name="T30" fmla="*/ 69144 w 144"/>
                <a:gd name="T31" fmla="*/ 44351 h 128"/>
                <a:gd name="T32" fmla="*/ 86431 w 144"/>
                <a:gd name="T33" fmla="*/ 73918 h 128"/>
                <a:gd name="T34" fmla="*/ 51858 w 144"/>
                <a:gd name="T35" fmla="*/ 73918 h 128"/>
                <a:gd name="T36" fmla="*/ 34572 w 144"/>
                <a:gd name="T37" fmla="*/ 73918 h 128"/>
                <a:gd name="T38" fmla="*/ 0 w 144"/>
                <a:gd name="T39" fmla="*/ 73918 h 128"/>
                <a:gd name="T40" fmla="*/ 0 w 144"/>
                <a:gd name="T41" fmla="*/ 88702 h 128"/>
                <a:gd name="T42" fmla="*/ 51858 w 144"/>
                <a:gd name="T43" fmla="*/ 103485 h 128"/>
                <a:gd name="T44" fmla="*/ 86431 w 144"/>
                <a:gd name="T45" fmla="*/ 133053 h 128"/>
                <a:gd name="T46" fmla="*/ 86431 w 144"/>
                <a:gd name="T47" fmla="*/ 147836 h 128"/>
                <a:gd name="T48" fmla="*/ 69144 w 144"/>
                <a:gd name="T49" fmla="*/ 206971 h 128"/>
                <a:gd name="T50" fmla="*/ 69144 w 144"/>
                <a:gd name="T51" fmla="*/ 221754 h 128"/>
                <a:gd name="T52" fmla="*/ 103717 w 144"/>
                <a:gd name="T53" fmla="*/ 236538 h 128"/>
                <a:gd name="T54" fmla="*/ 190147 w 144"/>
                <a:gd name="T55" fmla="*/ 236538 h 128"/>
                <a:gd name="T56" fmla="*/ 207433 w 144"/>
                <a:gd name="T57" fmla="*/ 221754 h 128"/>
                <a:gd name="T58" fmla="*/ 276578 w 144"/>
                <a:gd name="T59" fmla="*/ 221754 h 128"/>
                <a:gd name="T60" fmla="*/ 311150 w 144"/>
                <a:gd name="T61" fmla="*/ 206971 h 128"/>
                <a:gd name="T62" fmla="*/ 276578 w 144"/>
                <a:gd name="T63" fmla="*/ 177403 h 128"/>
                <a:gd name="T64" fmla="*/ 293864 w 144"/>
                <a:gd name="T65" fmla="*/ 147836 h 128"/>
                <a:gd name="T66" fmla="*/ 276578 w 144"/>
                <a:gd name="T67" fmla="*/ 133053 h 128"/>
                <a:gd name="T68" fmla="*/ 276578 w 144"/>
                <a:gd name="T69" fmla="*/ 147836 h 128"/>
                <a:gd name="T70" fmla="*/ 259292 w 144"/>
                <a:gd name="T71" fmla="*/ 133053 h 128"/>
                <a:gd name="T72" fmla="*/ 293864 w 144"/>
                <a:gd name="T73" fmla="*/ 103485 h 128"/>
                <a:gd name="T74" fmla="*/ 311150 w 144"/>
                <a:gd name="T75" fmla="*/ 103485 h 12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4"/>
                <a:gd name="T115" fmla="*/ 0 h 128"/>
                <a:gd name="T116" fmla="*/ 144 w 144"/>
                <a:gd name="T117" fmla="*/ 128 h 12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4" h="128">
                  <a:moveTo>
                    <a:pt x="144" y="56"/>
                  </a:moveTo>
                  <a:lnTo>
                    <a:pt x="144" y="40"/>
                  </a:lnTo>
                  <a:lnTo>
                    <a:pt x="128" y="24"/>
                  </a:lnTo>
                  <a:lnTo>
                    <a:pt x="120" y="24"/>
                  </a:lnTo>
                  <a:lnTo>
                    <a:pt x="112" y="24"/>
                  </a:lnTo>
                  <a:lnTo>
                    <a:pt x="112" y="16"/>
                  </a:lnTo>
                  <a:lnTo>
                    <a:pt x="104" y="24"/>
                  </a:lnTo>
                  <a:lnTo>
                    <a:pt x="88" y="8"/>
                  </a:lnTo>
                  <a:lnTo>
                    <a:pt x="88" y="0"/>
                  </a:lnTo>
                  <a:lnTo>
                    <a:pt x="80" y="8"/>
                  </a:lnTo>
                  <a:lnTo>
                    <a:pt x="72" y="16"/>
                  </a:lnTo>
                  <a:lnTo>
                    <a:pt x="56" y="24"/>
                  </a:lnTo>
                  <a:lnTo>
                    <a:pt x="56" y="32"/>
                  </a:lnTo>
                  <a:lnTo>
                    <a:pt x="40" y="32"/>
                  </a:lnTo>
                  <a:lnTo>
                    <a:pt x="40" y="24"/>
                  </a:lnTo>
                  <a:lnTo>
                    <a:pt x="32" y="24"/>
                  </a:lnTo>
                  <a:lnTo>
                    <a:pt x="40" y="40"/>
                  </a:lnTo>
                  <a:lnTo>
                    <a:pt x="24" y="40"/>
                  </a:lnTo>
                  <a:lnTo>
                    <a:pt x="16" y="40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24" y="56"/>
                  </a:lnTo>
                  <a:lnTo>
                    <a:pt x="40" y="72"/>
                  </a:lnTo>
                  <a:lnTo>
                    <a:pt x="40" y="80"/>
                  </a:lnTo>
                  <a:lnTo>
                    <a:pt x="32" y="112"/>
                  </a:lnTo>
                  <a:lnTo>
                    <a:pt x="32" y="120"/>
                  </a:lnTo>
                  <a:lnTo>
                    <a:pt x="48" y="128"/>
                  </a:lnTo>
                  <a:lnTo>
                    <a:pt x="88" y="128"/>
                  </a:lnTo>
                  <a:lnTo>
                    <a:pt x="96" y="120"/>
                  </a:lnTo>
                  <a:lnTo>
                    <a:pt x="128" y="120"/>
                  </a:lnTo>
                  <a:lnTo>
                    <a:pt x="144" y="112"/>
                  </a:lnTo>
                  <a:lnTo>
                    <a:pt x="128" y="96"/>
                  </a:lnTo>
                  <a:lnTo>
                    <a:pt x="136" y="80"/>
                  </a:lnTo>
                  <a:lnTo>
                    <a:pt x="128" y="72"/>
                  </a:lnTo>
                  <a:lnTo>
                    <a:pt x="128" y="80"/>
                  </a:lnTo>
                  <a:lnTo>
                    <a:pt x="120" y="72"/>
                  </a:lnTo>
                  <a:lnTo>
                    <a:pt x="136" y="56"/>
                  </a:lnTo>
                  <a:lnTo>
                    <a:pt x="144" y="5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5" name="Freeform 105">
              <a:extLst>
                <a:ext uri="{FF2B5EF4-FFF2-40B4-BE49-F238E27FC236}">
                  <a16:creationId xmlns:a16="http://schemas.microsoft.com/office/drawing/2014/main" id="{5348DD5D-1550-0539-F763-9A3046DA94EF}"/>
                </a:ext>
              </a:extLst>
            </p:cNvPr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4970463" y="3379788"/>
              <a:ext cx="311150" cy="250825"/>
            </a:xfrm>
            <a:custGeom>
              <a:avLst/>
              <a:gdLst>
                <a:gd name="T0" fmla="*/ 0 w 144"/>
                <a:gd name="T1" fmla="*/ 59018 h 136"/>
                <a:gd name="T2" fmla="*/ 17286 w 144"/>
                <a:gd name="T3" fmla="*/ 29509 h 136"/>
                <a:gd name="T4" fmla="*/ 51858 w 144"/>
                <a:gd name="T5" fmla="*/ 14754 h 136"/>
                <a:gd name="T6" fmla="*/ 69144 w 144"/>
                <a:gd name="T7" fmla="*/ 29509 h 136"/>
                <a:gd name="T8" fmla="*/ 69144 w 144"/>
                <a:gd name="T9" fmla="*/ 14754 h 136"/>
                <a:gd name="T10" fmla="*/ 86431 w 144"/>
                <a:gd name="T11" fmla="*/ 14754 h 136"/>
                <a:gd name="T12" fmla="*/ 103717 w 144"/>
                <a:gd name="T13" fmla="*/ 0 h 136"/>
                <a:gd name="T14" fmla="*/ 138289 w 144"/>
                <a:gd name="T15" fmla="*/ 0 h 136"/>
                <a:gd name="T16" fmla="*/ 155575 w 144"/>
                <a:gd name="T17" fmla="*/ 0 h 136"/>
                <a:gd name="T18" fmla="*/ 190147 w 144"/>
                <a:gd name="T19" fmla="*/ 14754 h 136"/>
                <a:gd name="T20" fmla="*/ 190147 w 144"/>
                <a:gd name="T21" fmla="*/ 29509 h 136"/>
                <a:gd name="T22" fmla="*/ 190147 w 144"/>
                <a:gd name="T23" fmla="*/ 44263 h 136"/>
                <a:gd name="T24" fmla="*/ 172861 w 144"/>
                <a:gd name="T25" fmla="*/ 29509 h 136"/>
                <a:gd name="T26" fmla="*/ 155575 w 144"/>
                <a:gd name="T27" fmla="*/ 44263 h 136"/>
                <a:gd name="T28" fmla="*/ 155575 w 144"/>
                <a:gd name="T29" fmla="*/ 73772 h 136"/>
                <a:gd name="T30" fmla="*/ 190147 w 144"/>
                <a:gd name="T31" fmla="*/ 103281 h 136"/>
                <a:gd name="T32" fmla="*/ 207433 w 144"/>
                <a:gd name="T33" fmla="*/ 132790 h 136"/>
                <a:gd name="T34" fmla="*/ 224719 w 144"/>
                <a:gd name="T35" fmla="*/ 147544 h 136"/>
                <a:gd name="T36" fmla="*/ 259292 w 144"/>
                <a:gd name="T37" fmla="*/ 147544 h 136"/>
                <a:gd name="T38" fmla="*/ 242006 w 144"/>
                <a:gd name="T39" fmla="*/ 147544 h 136"/>
                <a:gd name="T40" fmla="*/ 311150 w 144"/>
                <a:gd name="T41" fmla="*/ 191807 h 136"/>
                <a:gd name="T42" fmla="*/ 276578 w 144"/>
                <a:gd name="T43" fmla="*/ 177053 h 136"/>
                <a:gd name="T44" fmla="*/ 259292 w 144"/>
                <a:gd name="T45" fmla="*/ 206562 h 136"/>
                <a:gd name="T46" fmla="*/ 276578 w 144"/>
                <a:gd name="T47" fmla="*/ 206562 h 136"/>
                <a:gd name="T48" fmla="*/ 276578 w 144"/>
                <a:gd name="T49" fmla="*/ 221316 h 136"/>
                <a:gd name="T50" fmla="*/ 259292 w 144"/>
                <a:gd name="T51" fmla="*/ 221316 h 136"/>
                <a:gd name="T52" fmla="*/ 259292 w 144"/>
                <a:gd name="T53" fmla="*/ 250825 h 136"/>
                <a:gd name="T54" fmla="*/ 242006 w 144"/>
                <a:gd name="T55" fmla="*/ 250825 h 136"/>
                <a:gd name="T56" fmla="*/ 259292 w 144"/>
                <a:gd name="T57" fmla="*/ 221316 h 136"/>
                <a:gd name="T58" fmla="*/ 242006 w 144"/>
                <a:gd name="T59" fmla="*/ 191807 h 136"/>
                <a:gd name="T60" fmla="*/ 190147 w 144"/>
                <a:gd name="T61" fmla="*/ 162299 h 136"/>
                <a:gd name="T62" fmla="*/ 155575 w 144"/>
                <a:gd name="T63" fmla="*/ 147544 h 136"/>
                <a:gd name="T64" fmla="*/ 138289 w 144"/>
                <a:gd name="T65" fmla="*/ 132790 h 136"/>
                <a:gd name="T66" fmla="*/ 121003 w 144"/>
                <a:gd name="T67" fmla="*/ 132790 h 136"/>
                <a:gd name="T68" fmla="*/ 86431 w 144"/>
                <a:gd name="T69" fmla="*/ 88526 h 136"/>
                <a:gd name="T70" fmla="*/ 51858 w 144"/>
                <a:gd name="T71" fmla="*/ 73772 h 136"/>
                <a:gd name="T72" fmla="*/ 34572 w 144"/>
                <a:gd name="T73" fmla="*/ 88526 h 136"/>
                <a:gd name="T74" fmla="*/ 0 w 144"/>
                <a:gd name="T75" fmla="*/ 59018 h 1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4"/>
                <a:gd name="T115" fmla="*/ 0 h 136"/>
                <a:gd name="T116" fmla="*/ 144 w 144"/>
                <a:gd name="T117" fmla="*/ 136 h 1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4" h="136">
                  <a:moveTo>
                    <a:pt x="0" y="32"/>
                  </a:moveTo>
                  <a:lnTo>
                    <a:pt x="8" y="16"/>
                  </a:lnTo>
                  <a:lnTo>
                    <a:pt x="24" y="8"/>
                  </a:lnTo>
                  <a:lnTo>
                    <a:pt x="32" y="16"/>
                  </a:lnTo>
                  <a:lnTo>
                    <a:pt x="32" y="8"/>
                  </a:lnTo>
                  <a:lnTo>
                    <a:pt x="40" y="8"/>
                  </a:lnTo>
                  <a:lnTo>
                    <a:pt x="48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8" y="8"/>
                  </a:lnTo>
                  <a:lnTo>
                    <a:pt x="88" y="16"/>
                  </a:lnTo>
                  <a:lnTo>
                    <a:pt x="88" y="24"/>
                  </a:lnTo>
                  <a:lnTo>
                    <a:pt x="80" y="16"/>
                  </a:lnTo>
                  <a:lnTo>
                    <a:pt x="72" y="24"/>
                  </a:lnTo>
                  <a:lnTo>
                    <a:pt x="72" y="40"/>
                  </a:lnTo>
                  <a:lnTo>
                    <a:pt x="88" y="56"/>
                  </a:lnTo>
                  <a:lnTo>
                    <a:pt x="96" y="72"/>
                  </a:lnTo>
                  <a:lnTo>
                    <a:pt x="104" y="80"/>
                  </a:lnTo>
                  <a:lnTo>
                    <a:pt x="120" y="80"/>
                  </a:lnTo>
                  <a:lnTo>
                    <a:pt x="112" y="80"/>
                  </a:lnTo>
                  <a:lnTo>
                    <a:pt x="144" y="104"/>
                  </a:lnTo>
                  <a:lnTo>
                    <a:pt x="128" y="96"/>
                  </a:lnTo>
                  <a:lnTo>
                    <a:pt x="120" y="112"/>
                  </a:lnTo>
                  <a:lnTo>
                    <a:pt x="128" y="112"/>
                  </a:lnTo>
                  <a:lnTo>
                    <a:pt x="128" y="120"/>
                  </a:lnTo>
                  <a:lnTo>
                    <a:pt x="120" y="120"/>
                  </a:lnTo>
                  <a:lnTo>
                    <a:pt x="120" y="136"/>
                  </a:lnTo>
                  <a:lnTo>
                    <a:pt x="112" y="136"/>
                  </a:lnTo>
                  <a:lnTo>
                    <a:pt x="120" y="120"/>
                  </a:lnTo>
                  <a:lnTo>
                    <a:pt x="112" y="104"/>
                  </a:lnTo>
                  <a:lnTo>
                    <a:pt x="88" y="88"/>
                  </a:lnTo>
                  <a:lnTo>
                    <a:pt x="72" y="80"/>
                  </a:lnTo>
                  <a:lnTo>
                    <a:pt x="64" y="72"/>
                  </a:lnTo>
                  <a:lnTo>
                    <a:pt x="56" y="72"/>
                  </a:lnTo>
                  <a:lnTo>
                    <a:pt x="40" y="48"/>
                  </a:lnTo>
                  <a:lnTo>
                    <a:pt x="24" y="40"/>
                  </a:lnTo>
                  <a:lnTo>
                    <a:pt x="16" y="48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6" name="Freeform 106">
              <a:extLst>
                <a:ext uri="{FF2B5EF4-FFF2-40B4-BE49-F238E27FC236}">
                  <a16:creationId xmlns:a16="http://schemas.microsoft.com/office/drawing/2014/main" id="{A8296F83-5DF8-74AA-E4A1-2312A26FE060}"/>
                </a:ext>
              </a:extLst>
            </p:cNvPr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5384801" y="3454401"/>
              <a:ext cx="173038" cy="88900"/>
            </a:xfrm>
            <a:custGeom>
              <a:avLst/>
              <a:gdLst>
                <a:gd name="T0" fmla="*/ 121127 w 80"/>
                <a:gd name="T1" fmla="*/ 0 h 48"/>
                <a:gd name="T2" fmla="*/ 86519 w 80"/>
                <a:gd name="T3" fmla="*/ 14817 h 48"/>
                <a:gd name="T4" fmla="*/ 34608 w 80"/>
                <a:gd name="T5" fmla="*/ 14817 h 48"/>
                <a:gd name="T6" fmla="*/ 17304 w 80"/>
                <a:gd name="T7" fmla="*/ 0 h 48"/>
                <a:gd name="T8" fmla="*/ 0 w 80"/>
                <a:gd name="T9" fmla="*/ 14817 h 48"/>
                <a:gd name="T10" fmla="*/ 0 w 80"/>
                <a:gd name="T11" fmla="*/ 44450 h 48"/>
                <a:gd name="T12" fmla="*/ 0 w 80"/>
                <a:gd name="T13" fmla="*/ 59267 h 48"/>
                <a:gd name="T14" fmla="*/ 17304 w 80"/>
                <a:gd name="T15" fmla="*/ 88900 h 48"/>
                <a:gd name="T16" fmla="*/ 51911 w 80"/>
                <a:gd name="T17" fmla="*/ 74083 h 48"/>
                <a:gd name="T18" fmla="*/ 86519 w 80"/>
                <a:gd name="T19" fmla="*/ 88900 h 48"/>
                <a:gd name="T20" fmla="*/ 103823 w 80"/>
                <a:gd name="T21" fmla="*/ 74083 h 48"/>
                <a:gd name="T22" fmla="*/ 155734 w 80"/>
                <a:gd name="T23" fmla="*/ 74083 h 48"/>
                <a:gd name="T24" fmla="*/ 138430 w 80"/>
                <a:gd name="T25" fmla="*/ 44450 h 48"/>
                <a:gd name="T26" fmla="*/ 155734 w 80"/>
                <a:gd name="T27" fmla="*/ 29633 h 48"/>
                <a:gd name="T28" fmla="*/ 173038 w 80"/>
                <a:gd name="T29" fmla="*/ 14817 h 48"/>
                <a:gd name="T30" fmla="*/ 121127 w 80"/>
                <a:gd name="T31" fmla="*/ 0 h 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0"/>
                <a:gd name="T49" fmla="*/ 0 h 48"/>
                <a:gd name="T50" fmla="*/ 80 w 80"/>
                <a:gd name="T51" fmla="*/ 48 h 4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0" h="48">
                  <a:moveTo>
                    <a:pt x="56" y="0"/>
                  </a:moveTo>
                  <a:lnTo>
                    <a:pt x="40" y="8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8" y="48"/>
                  </a:lnTo>
                  <a:lnTo>
                    <a:pt x="24" y="40"/>
                  </a:lnTo>
                  <a:lnTo>
                    <a:pt x="40" y="48"/>
                  </a:lnTo>
                  <a:lnTo>
                    <a:pt x="48" y="40"/>
                  </a:lnTo>
                  <a:lnTo>
                    <a:pt x="72" y="40"/>
                  </a:lnTo>
                  <a:lnTo>
                    <a:pt x="64" y="24"/>
                  </a:lnTo>
                  <a:lnTo>
                    <a:pt x="72" y="16"/>
                  </a:lnTo>
                  <a:lnTo>
                    <a:pt x="80" y="8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7" name="Freeform 107">
              <a:extLst>
                <a:ext uri="{FF2B5EF4-FFF2-40B4-BE49-F238E27FC236}">
                  <a16:creationId xmlns:a16="http://schemas.microsoft.com/office/drawing/2014/main" id="{5E27F363-6504-32F7-7663-FADC5F5EE295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334001" y="3527426"/>
              <a:ext cx="155575" cy="119063"/>
            </a:xfrm>
            <a:custGeom>
              <a:avLst/>
              <a:gdLst>
                <a:gd name="T0" fmla="*/ 155575 w 72"/>
                <a:gd name="T1" fmla="*/ 0 h 64"/>
                <a:gd name="T2" fmla="*/ 138289 w 72"/>
                <a:gd name="T3" fmla="*/ 14883 h 64"/>
                <a:gd name="T4" fmla="*/ 103717 w 72"/>
                <a:gd name="T5" fmla="*/ 0 h 64"/>
                <a:gd name="T6" fmla="*/ 69144 w 72"/>
                <a:gd name="T7" fmla="*/ 14883 h 64"/>
                <a:gd name="T8" fmla="*/ 17286 w 72"/>
                <a:gd name="T9" fmla="*/ 29766 h 64"/>
                <a:gd name="T10" fmla="*/ 0 w 72"/>
                <a:gd name="T11" fmla="*/ 59532 h 64"/>
                <a:gd name="T12" fmla="*/ 34572 w 72"/>
                <a:gd name="T13" fmla="*/ 89297 h 64"/>
                <a:gd name="T14" fmla="*/ 69144 w 72"/>
                <a:gd name="T15" fmla="*/ 89297 h 64"/>
                <a:gd name="T16" fmla="*/ 103717 w 72"/>
                <a:gd name="T17" fmla="*/ 119063 h 64"/>
                <a:gd name="T18" fmla="*/ 103717 w 72"/>
                <a:gd name="T19" fmla="*/ 104180 h 64"/>
                <a:gd name="T20" fmla="*/ 121003 w 72"/>
                <a:gd name="T21" fmla="*/ 104180 h 64"/>
                <a:gd name="T22" fmla="*/ 86431 w 72"/>
                <a:gd name="T23" fmla="*/ 74414 h 64"/>
                <a:gd name="T24" fmla="*/ 69144 w 72"/>
                <a:gd name="T25" fmla="*/ 44649 h 64"/>
                <a:gd name="T26" fmla="*/ 69144 w 72"/>
                <a:gd name="T27" fmla="*/ 29766 h 64"/>
                <a:gd name="T28" fmla="*/ 86431 w 72"/>
                <a:gd name="T29" fmla="*/ 44649 h 64"/>
                <a:gd name="T30" fmla="*/ 86431 w 72"/>
                <a:gd name="T31" fmla="*/ 29766 h 64"/>
                <a:gd name="T32" fmla="*/ 103717 w 72"/>
                <a:gd name="T33" fmla="*/ 14883 h 64"/>
                <a:gd name="T34" fmla="*/ 138289 w 72"/>
                <a:gd name="T35" fmla="*/ 29766 h 64"/>
                <a:gd name="T36" fmla="*/ 155575 w 72"/>
                <a:gd name="T37" fmla="*/ 29766 h 64"/>
                <a:gd name="T38" fmla="*/ 155575 w 72"/>
                <a:gd name="T39" fmla="*/ 0 h 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2"/>
                <a:gd name="T61" fmla="*/ 0 h 64"/>
                <a:gd name="T62" fmla="*/ 72 w 72"/>
                <a:gd name="T63" fmla="*/ 64 h 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2" h="64">
                  <a:moveTo>
                    <a:pt x="72" y="0"/>
                  </a:moveTo>
                  <a:lnTo>
                    <a:pt x="64" y="8"/>
                  </a:lnTo>
                  <a:lnTo>
                    <a:pt x="48" y="0"/>
                  </a:lnTo>
                  <a:lnTo>
                    <a:pt x="32" y="8"/>
                  </a:lnTo>
                  <a:lnTo>
                    <a:pt x="8" y="16"/>
                  </a:lnTo>
                  <a:lnTo>
                    <a:pt x="0" y="32"/>
                  </a:lnTo>
                  <a:lnTo>
                    <a:pt x="16" y="48"/>
                  </a:lnTo>
                  <a:lnTo>
                    <a:pt x="32" y="48"/>
                  </a:lnTo>
                  <a:lnTo>
                    <a:pt x="48" y="64"/>
                  </a:lnTo>
                  <a:lnTo>
                    <a:pt x="48" y="56"/>
                  </a:lnTo>
                  <a:lnTo>
                    <a:pt x="56" y="56"/>
                  </a:lnTo>
                  <a:lnTo>
                    <a:pt x="40" y="40"/>
                  </a:lnTo>
                  <a:lnTo>
                    <a:pt x="32" y="24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8" y="8"/>
                  </a:lnTo>
                  <a:lnTo>
                    <a:pt x="64" y="16"/>
                  </a:lnTo>
                  <a:lnTo>
                    <a:pt x="72" y="16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8" name="Freeform 108">
              <a:extLst>
                <a:ext uri="{FF2B5EF4-FFF2-40B4-BE49-F238E27FC236}">
                  <a16:creationId xmlns:a16="http://schemas.microsoft.com/office/drawing/2014/main" id="{E7C9D464-D53E-EBC5-5654-B7A660A2BAB3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316538" y="3351213"/>
              <a:ext cx="258763" cy="117475"/>
            </a:xfrm>
            <a:custGeom>
              <a:avLst/>
              <a:gdLst>
                <a:gd name="T0" fmla="*/ 224261 w 120"/>
                <a:gd name="T1" fmla="*/ 73422 h 64"/>
                <a:gd name="T2" fmla="*/ 258763 w 120"/>
                <a:gd name="T3" fmla="*/ 73422 h 64"/>
                <a:gd name="T4" fmla="*/ 258763 w 120"/>
                <a:gd name="T5" fmla="*/ 88106 h 64"/>
                <a:gd name="T6" fmla="*/ 224261 w 120"/>
                <a:gd name="T7" fmla="*/ 102791 h 64"/>
                <a:gd name="T8" fmla="*/ 241512 w 120"/>
                <a:gd name="T9" fmla="*/ 117475 h 64"/>
                <a:gd name="T10" fmla="*/ 189760 w 120"/>
                <a:gd name="T11" fmla="*/ 102791 h 64"/>
                <a:gd name="T12" fmla="*/ 155258 w 120"/>
                <a:gd name="T13" fmla="*/ 117475 h 64"/>
                <a:gd name="T14" fmla="*/ 103505 w 120"/>
                <a:gd name="T15" fmla="*/ 117475 h 64"/>
                <a:gd name="T16" fmla="*/ 86254 w 120"/>
                <a:gd name="T17" fmla="*/ 102791 h 64"/>
                <a:gd name="T18" fmla="*/ 69003 w 120"/>
                <a:gd name="T19" fmla="*/ 88106 h 64"/>
                <a:gd name="T20" fmla="*/ 51753 w 120"/>
                <a:gd name="T21" fmla="*/ 88106 h 64"/>
                <a:gd name="T22" fmla="*/ 0 w 120"/>
                <a:gd name="T23" fmla="*/ 58738 h 64"/>
                <a:gd name="T24" fmla="*/ 17251 w 120"/>
                <a:gd name="T25" fmla="*/ 58738 h 64"/>
                <a:gd name="T26" fmla="*/ 34502 w 120"/>
                <a:gd name="T27" fmla="*/ 44053 h 64"/>
                <a:gd name="T28" fmla="*/ 51753 w 120"/>
                <a:gd name="T29" fmla="*/ 14684 h 64"/>
                <a:gd name="T30" fmla="*/ 69003 w 120"/>
                <a:gd name="T31" fmla="*/ 0 h 64"/>
                <a:gd name="T32" fmla="*/ 120756 w 120"/>
                <a:gd name="T33" fmla="*/ 14684 h 64"/>
                <a:gd name="T34" fmla="*/ 172509 w 120"/>
                <a:gd name="T35" fmla="*/ 0 h 64"/>
                <a:gd name="T36" fmla="*/ 207010 w 120"/>
                <a:gd name="T37" fmla="*/ 29369 h 64"/>
                <a:gd name="T38" fmla="*/ 224261 w 120"/>
                <a:gd name="T39" fmla="*/ 73422 h 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20"/>
                <a:gd name="T61" fmla="*/ 0 h 64"/>
                <a:gd name="T62" fmla="*/ 120 w 120"/>
                <a:gd name="T63" fmla="*/ 64 h 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20" h="64">
                  <a:moveTo>
                    <a:pt x="104" y="40"/>
                  </a:moveTo>
                  <a:lnTo>
                    <a:pt x="120" y="40"/>
                  </a:lnTo>
                  <a:lnTo>
                    <a:pt x="120" y="48"/>
                  </a:lnTo>
                  <a:lnTo>
                    <a:pt x="104" y="56"/>
                  </a:lnTo>
                  <a:lnTo>
                    <a:pt x="112" y="64"/>
                  </a:lnTo>
                  <a:lnTo>
                    <a:pt x="88" y="56"/>
                  </a:lnTo>
                  <a:lnTo>
                    <a:pt x="72" y="64"/>
                  </a:lnTo>
                  <a:lnTo>
                    <a:pt x="48" y="64"/>
                  </a:lnTo>
                  <a:lnTo>
                    <a:pt x="40" y="56"/>
                  </a:lnTo>
                  <a:lnTo>
                    <a:pt x="32" y="48"/>
                  </a:lnTo>
                  <a:lnTo>
                    <a:pt x="24" y="48"/>
                  </a:lnTo>
                  <a:lnTo>
                    <a:pt x="0" y="32"/>
                  </a:lnTo>
                  <a:lnTo>
                    <a:pt x="8" y="32"/>
                  </a:lnTo>
                  <a:lnTo>
                    <a:pt x="16" y="24"/>
                  </a:lnTo>
                  <a:lnTo>
                    <a:pt x="24" y="8"/>
                  </a:lnTo>
                  <a:lnTo>
                    <a:pt x="32" y="0"/>
                  </a:lnTo>
                  <a:lnTo>
                    <a:pt x="56" y="8"/>
                  </a:lnTo>
                  <a:lnTo>
                    <a:pt x="80" y="0"/>
                  </a:lnTo>
                  <a:lnTo>
                    <a:pt x="96" y="16"/>
                  </a:lnTo>
                  <a:lnTo>
                    <a:pt x="104" y="4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9" name="Freeform 109">
              <a:extLst>
                <a:ext uri="{FF2B5EF4-FFF2-40B4-BE49-F238E27FC236}">
                  <a16:creationId xmlns:a16="http://schemas.microsoft.com/office/drawing/2014/main" id="{AF951364-CBC4-5DBC-442A-03D8775709F4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160963" y="3379788"/>
              <a:ext cx="68263" cy="44450"/>
            </a:xfrm>
            <a:custGeom>
              <a:avLst/>
              <a:gdLst>
                <a:gd name="T0" fmla="*/ 0 w 32"/>
                <a:gd name="T1" fmla="*/ 44450 h 24"/>
                <a:gd name="T2" fmla="*/ 0 w 32"/>
                <a:gd name="T3" fmla="*/ 29633 h 24"/>
                <a:gd name="T4" fmla="*/ 0 w 32"/>
                <a:gd name="T5" fmla="*/ 14817 h 24"/>
                <a:gd name="T6" fmla="*/ 51197 w 32"/>
                <a:gd name="T7" fmla="*/ 0 h 24"/>
                <a:gd name="T8" fmla="*/ 68263 w 32"/>
                <a:gd name="T9" fmla="*/ 14817 h 24"/>
                <a:gd name="T10" fmla="*/ 34132 w 32"/>
                <a:gd name="T11" fmla="*/ 29633 h 24"/>
                <a:gd name="T12" fmla="*/ 34132 w 32"/>
                <a:gd name="T13" fmla="*/ 44450 h 24"/>
                <a:gd name="T14" fmla="*/ 17066 w 32"/>
                <a:gd name="T15" fmla="*/ 29633 h 24"/>
                <a:gd name="T16" fmla="*/ 0 w 32"/>
                <a:gd name="T17" fmla="*/ 4445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24"/>
                <a:gd name="T29" fmla="*/ 32 w 32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24">
                  <a:moveTo>
                    <a:pt x="0" y="24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24" y="0"/>
                  </a:lnTo>
                  <a:lnTo>
                    <a:pt x="32" y="8"/>
                  </a:lnTo>
                  <a:lnTo>
                    <a:pt x="16" y="16"/>
                  </a:lnTo>
                  <a:lnTo>
                    <a:pt x="16" y="24"/>
                  </a:lnTo>
                  <a:lnTo>
                    <a:pt x="8" y="16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0" name="Freeform 110">
              <a:extLst>
                <a:ext uri="{FF2B5EF4-FFF2-40B4-BE49-F238E27FC236}">
                  <a16:creationId xmlns:a16="http://schemas.microsoft.com/office/drawing/2014/main" id="{7F8FC512-F06E-447F-55E4-0549EDC2F21F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5160963" y="3395663"/>
              <a:ext cx="138113" cy="103188"/>
            </a:xfrm>
            <a:custGeom>
              <a:avLst/>
              <a:gdLst>
                <a:gd name="T0" fmla="*/ 120849 w 64"/>
                <a:gd name="T1" fmla="*/ 14741 h 56"/>
                <a:gd name="T2" fmla="*/ 103585 w 64"/>
                <a:gd name="T3" fmla="*/ 14741 h 56"/>
                <a:gd name="T4" fmla="*/ 69057 w 64"/>
                <a:gd name="T5" fmla="*/ 0 h 56"/>
                <a:gd name="T6" fmla="*/ 34528 w 64"/>
                <a:gd name="T7" fmla="*/ 14741 h 56"/>
                <a:gd name="T8" fmla="*/ 34528 w 64"/>
                <a:gd name="T9" fmla="*/ 29482 h 56"/>
                <a:gd name="T10" fmla="*/ 17264 w 64"/>
                <a:gd name="T11" fmla="*/ 14741 h 56"/>
                <a:gd name="T12" fmla="*/ 0 w 64"/>
                <a:gd name="T13" fmla="*/ 29482 h 56"/>
                <a:gd name="T14" fmla="*/ 0 w 64"/>
                <a:gd name="T15" fmla="*/ 44223 h 56"/>
                <a:gd name="T16" fmla="*/ 17264 w 64"/>
                <a:gd name="T17" fmla="*/ 29482 h 56"/>
                <a:gd name="T18" fmla="*/ 34528 w 64"/>
                <a:gd name="T19" fmla="*/ 44223 h 56"/>
                <a:gd name="T20" fmla="*/ 34528 w 64"/>
                <a:gd name="T21" fmla="*/ 73706 h 56"/>
                <a:gd name="T22" fmla="*/ 120849 w 64"/>
                <a:gd name="T23" fmla="*/ 103188 h 56"/>
                <a:gd name="T24" fmla="*/ 69057 w 64"/>
                <a:gd name="T25" fmla="*/ 58965 h 56"/>
                <a:gd name="T26" fmla="*/ 51792 w 64"/>
                <a:gd name="T27" fmla="*/ 44223 h 56"/>
                <a:gd name="T28" fmla="*/ 69057 w 64"/>
                <a:gd name="T29" fmla="*/ 29482 h 56"/>
                <a:gd name="T30" fmla="*/ 120849 w 64"/>
                <a:gd name="T31" fmla="*/ 44223 h 56"/>
                <a:gd name="T32" fmla="*/ 138113 w 64"/>
                <a:gd name="T33" fmla="*/ 44223 h 56"/>
                <a:gd name="T34" fmla="*/ 138113 w 64"/>
                <a:gd name="T35" fmla="*/ 29482 h 56"/>
                <a:gd name="T36" fmla="*/ 120849 w 64"/>
                <a:gd name="T37" fmla="*/ 14741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4"/>
                <a:gd name="T58" fmla="*/ 0 h 56"/>
                <a:gd name="T59" fmla="*/ 64 w 64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4" h="56">
                  <a:moveTo>
                    <a:pt x="56" y="8"/>
                  </a:moveTo>
                  <a:lnTo>
                    <a:pt x="48" y="8"/>
                  </a:lnTo>
                  <a:lnTo>
                    <a:pt x="32" y="0"/>
                  </a:lnTo>
                  <a:lnTo>
                    <a:pt x="16" y="8"/>
                  </a:lnTo>
                  <a:lnTo>
                    <a:pt x="16" y="16"/>
                  </a:lnTo>
                  <a:lnTo>
                    <a:pt x="8" y="8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6" y="24"/>
                  </a:lnTo>
                  <a:lnTo>
                    <a:pt x="16" y="40"/>
                  </a:lnTo>
                  <a:lnTo>
                    <a:pt x="56" y="56"/>
                  </a:lnTo>
                  <a:lnTo>
                    <a:pt x="32" y="32"/>
                  </a:lnTo>
                  <a:lnTo>
                    <a:pt x="24" y="24"/>
                  </a:lnTo>
                  <a:lnTo>
                    <a:pt x="32" y="16"/>
                  </a:lnTo>
                  <a:lnTo>
                    <a:pt x="56" y="24"/>
                  </a:lnTo>
                  <a:lnTo>
                    <a:pt x="64" y="24"/>
                  </a:lnTo>
                  <a:lnTo>
                    <a:pt x="64" y="16"/>
                  </a:lnTo>
                  <a:lnTo>
                    <a:pt x="56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1" name="Freeform 111">
              <a:extLst>
                <a:ext uri="{FF2B5EF4-FFF2-40B4-BE49-F238E27FC236}">
                  <a16:creationId xmlns:a16="http://schemas.microsoft.com/office/drawing/2014/main" id="{4357960B-E2DF-32E6-45D9-840D602294C0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5211763" y="3424238"/>
              <a:ext cx="104775" cy="74613"/>
            </a:xfrm>
            <a:custGeom>
              <a:avLst/>
              <a:gdLst>
                <a:gd name="T0" fmla="*/ 87313 w 48"/>
                <a:gd name="T1" fmla="*/ 14923 h 40"/>
                <a:gd name="T2" fmla="*/ 87313 w 48"/>
                <a:gd name="T3" fmla="*/ 29845 h 40"/>
                <a:gd name="T4" fmla="*/ 104775 w 48"/>
                <a:gd name="T5" fmla="*/ 44768 h 40"/>
                <a:gd name="T6" fmla="*/ 87313 w 48"/>
                <a:gd name="T7" fmla="*/ 44768 h 40"/>
                <a:gd name="T8" fmla="*/ 69850 w 48"/>
                <a:gd name="T9" fmla="*/ 59690 h 40"/>
                <a:gd name="T10" fmla="*/ 69850 w 48"/>
                <a:gd name="T11" fmla="*/ 74613 h 40"/>
                <a:gd name="T12" fmla="*/ 17463 w 48"/>
                <a:gd name="T13" fmla="*/ 29845 h 40"/>
                <a:gd name="T14" fmla="*/ 0 w 48"/>
                <a:gd name="T15" fmla="*/ 14923 h 40"/>
                <a:gd name="T16" fmla="*/ 17463 w 48"/>
                <a:gd name="T17" fmla="*/ 0 h 40"/>
                <a:gd name="T18" fmla="*/ 69850 w 48"/>
                <a:gd name="T19" fmla="*/ 14923 h 40"/>
                <a:gd name="T20" fmla="*/ 87313 w 48"/>
                <a:gd name="T21" fmla="*/ 14923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40"/>
                <a:gd name="T35" fmla="*/ 48 w 48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40">
                  <a:moveTo>
                    <a:pt x="40" y="8"/>
                  </a:moveTo>
                  <a:lnTo>
                    <a:pt x="40" y="16"/>
                  </a:lnTo>
                  <a:lnTo>
                    <a:pt x="48" y="24"/>
                  </a:lnTo>
                  <a:lnTo>
                    <a:pt x="40" y="24"/>
                  </a:lnTo>
                  <a:lnTo>
                    <a:pt x="32" y="32"/>
                  </a:lnTo>
                  <a:lnTo>
                    <a:pt x="32" y="40"/>
                  </a:lnTo>
                  <a:lnTo>
                    <a:pt x="8" y="16"/>
                  </a:lnTo>
                  <a:lnTo>
                    <a:pt x="0" y="8"/>
                  </a:lnTo>
                  <a:lnTo>
                    <a:pt x="8" y="0"/>
                  </a:lnTo>
                  <a:lnTo>
                    <a:pt x="32" y="8"/>
                  </a:lnTo>
                  <a:lnTo>
                    <a:pt x="4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2" name="Freeform 112">
              <a:extLst>
                <a:ext uri="{FF2B5EF4-FFF2-40B4-BE49-F238E27FC236}">
                  <a16:creationId xmlns:a16="http://schemas.microsoft.com/office/drawing/2014/main" id="{61A29F77-66C6-B225-885E-80273403077D}"/>
                </a:ext>
              </a:extLst>
            </p:cNvPr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5281613" y="3468688"/>
              <a:ext cx="52388" cy="58738"/>
            </a:xfrm>
            <a:custGeom>
              <a:avLst/>
              <a:gdLst>
                <a:gd name="T0" fmla="*/ 0 w 24"/>
                <a:gd name="T1" fmla="*/ 29369 h 32"/>
                <a:gd name="T2" fmla="*/ 34925 w 24"/>
                <a:gd name="T3" fmla="*/ 58738 h 32"/>
                <a:gd name="T4" fmla="*/ 34925 w 24"/>
                <a:gd name="T5" fmla="*/ 29369 h 32"/>
                <a:gd name="T6" fmla="*/ 52388 w 24"/>
                <a:gd name="T7" fmla="*/ 29369 h 32"/>
                <a:gd name="T8" fmla="*/ 17463 w 24"/>
                <a:gd name="T9" fmla="*/ 0 h 32"/>
                <a:gd name="T10" fmla="*/ 0 w 24"/>
                <a:gd name="T11" fmla="*/ 14685 h 32"/>
                <a:gd name="T12" fmla="*/ 0 w 24"/>
                <a:gd name="T13" fmla="*/ 29369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32"/>
                <a:gd name="T23" fmla="*/ 24 w 2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32">
                  <a:moveTo>
                    <a:pt x="0" y="16"/>
                  </a:moveTo>
                  <a:lnTo>
                    <a:pt x="16" y="32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3" name="Freeform 113">
              <a:extLst>
                <a:ext uri="{FF2B5EF4-FFF2-40B4-BE49-F238E27FC236}">
                  <a16:creationId xmlns:a16="http://schemas.microsoft.com/office/drawing/2014/main" id="{3F366128-F071-7886-BF50-21B846A80716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5281613" y="3409951"/>
              <a:ext cx="120650" cy="117475"/>
            </a:xfrm>
            <a:custGeom>
              <a:avLst/>
              <a:gdLst>
                <a:gd name="T0" fmla="*/ 51707 w 56"/>
                <a:gd name="T1" fmla="*/ 117475 h 64"/>
                <a:gd name="T2" fmla="*/ 51707 w 56"/>
                <a:gd name="T3" fmla="*/ 88106 h 64"/>
                <a:gd name="T4" fmla="*/ 34471 w 56"/>
                <a:gd name="T5" fmla="*/ 88106 h 64"/>
                <a:gd name="T6" fmla="*/ 51707 w 56"/>
                <a:gd name="T7" fmla="*/ 88106 h 64"/>
                <a:gd name="T8" fmla="*/ 17236 w 56"/>
                <a:gd name="T9" fmla="*/ 58738 h 64"/>
                <a:gd name="T10" fmla="*/ 34471 w 56"/>
                <a:gd name="T11" fmla="*/ 58738 h 64"/>
                <a:gd name="T12" fmla="*/ 17236 w 56"/>
                <a:gd name="T13" fmla="*/ 44053 h 64"/>
                <a:gd name="T14" fmla="*/ 17236 w 56"/>
                <a:gd name="T15" fmla="*/ 29369 h 64"/>
                <a:gd name="T16" fmla="*/ 17236 w 56"/>
                <a:gd name="T17" fmla="*/ 14684 h 64"/>
                <a:gd name="T18" fmla="*/ 0 w 56"/>
                <a:gd name="T19" fmla="*/ 0 h 64"/>
                <a:gd name="T20" fmla="*/ 34471 w 56"/>
                <a:gd name="T21" fmla="*/ 0 h 64"/>
                <a:gd name="T22" fmla="*/ 86179 w 56"/>
                <a:gd name="T23" fmla="*/ 29369 h 64"/>
                <a:gd name="T24" fmla="*/ 103414 w 56"/>
                <a:gd name="T25" fmla="*/ 29369 h 64"/>
                <a:gd name="T26" fmla="*/ 120650 w 56"/>
                <a:gd name="T27" fmla="*/ 44053 h 64"/>
                <a:gd name="T28" fmla="*/ 103414 w 56"/>
                <a:gd name="T29" fmla="*/ 58738 h 64"/>
                <a:gd name="T30" fmla="*/ 103414 w 56"/>
                <a:gd name="T31" fmla="*/ 88106 h 64"/>
                <a:gd name="T32" fmla="*/ 103414 w 56"/>
                <a:gd name="T33" fmla="*/ 102791 h 64"/>
                <a:gd name="T34" fmla="*/ 86179 w 56"/>
                <a:gd name="T35" fmla="*/ 102791 h 64"/>
                <a:gd name="T36" fmla="*/ 51707 w 56"/>
                <a:gd name="T37" fmla="*/ 117475 h 6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6"/>
                <a:gd name="T58" fmla="*/ 0 h 64"/>
                <a:gd name="T59" fmla="*/ 56 w 56"/>
                <a:gd name="T60" fmla="*/ 64 h 6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6" h="64">
                  <a:moveTo>
                    <a:pt x="24" y="64"/>
                  </a:moveTo>
                  <a:lnTo>
                    <a:pt x="24" y="48"/>
                  </a:lnTo>
                  <a:lnTo>
                    <a:pt x="16" y="48"/>
                  </a:lnTo>
                  <a:lnTo>
                    <a:pt x="24" y="48"/>
                  </a:lnTo>
                  <a:lnTo>
                    <a:pt x="8" y="32"/>
                  </a:lnTo>
                  <a:lnTo>
                    <a:pt x="16" y="32"/>
                  </a:lnTo>
                  <a:lnTo>
                    <a:pt x="8" y="24"/>
                  </a:lnTo>
                  <a:lnTo>
                    <a:pt x="8" y="16"/>
                  </a:lnTo>
                  <a:lnTo>
                    <a:pt x="8" y="8"/>
                  </a:lnTo>
                  <a:lnTo>
                    <a:pt x="0" y="0"/>
                  </a:lnTo>
                  <a:lnTo>
                    <a:pt x="16" y="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24"/>
                  </a:lnTo>
                  <a:lnTo>
                    <a:pt x="48" y="32"/>
                  </a:lnTo>
                  <a:lnTo>
                    <a:pt x="48" y="48"/>
                  </a:lnTo>
                  <a:lnTo>
                    <a:pt x="48" y="56"/>
                  </a:lnTo>
                  <a:lnTo>
                    <a:pt x="40" y="56"/>
                  </a:lnTo>
                  <a:lnTo>
                    <a:pt x="24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4" name="Freeform 114">
              <a:extLst>
                <a:ext uri="{FF2B5EF4-FFF2-40B4-BE49-F238E27FC236}">
                  <a16:creationId xmlns:a16="http://schemas.microsoft.com/office/drawing/2014/main" id="{A07457F3-35D5-5CAD-086D-0C20AA58F4F8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5334001" y="3513138"/>
              <a:ext cx="68263" cy="44450"/>
            </a:xfrm>
            <a:custGeom>
              <a:avLst/>
              <a:gdLst>
                <a:gd name="T0" fmla="*/ 68263 w 32"/>
                <a:gd name="T1" fmla="*/ 29633 h 24"/>
                <a:gd name="T2" fmla="*/ 51197 w 32"/>
                <a:gd name="T3" fmla="*/ 0 h 24"/>
                <a:gd name="T4" fmla="*/ 34132 w 32"/>
                <a:gd name="T5" fmla="*/ 0 h 24"/>
                <a:gd name="T6" fmla="*/ 0 w 32"/>
                <a:gd name="T7" fmla="*/ 14817 h 24"/>
                <a:gd name="T8" fmla="*/ 17066 w 32"/>
                <a:gd name="T9" fmla="*/ 44450 h 24"/>
                <a:gd name="T10" fmla="*/ 68263 w 32"/>
                <a:gd name="T11" fmla="*/ 29633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2"/>
                <a:gd name="T19" fmla="*/ 0 h 24"/>
                <a:gd name="T20" fmla="*/ 32 w 32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2" h="24">
                  <a:moveTo>
                    <a:pt x="32" y="16"/>
                  </a:moveTo>
                  <a:lnTo>
                    <a:pt x="24" y="0"/>
                  </a:lnTo>
                  <a:lnTo>
                    <a:pt x="16" y="0"/>
                  </a:lnTo>
                  <a:lnTo>
                    <a:pt x="0" y="8"/>
                  </a:lnTo>
                  <a:lnTo>
                    <a:pt x="8" y="24"/>
                  </a:lnTo>
                  <a:lnTo>
                    <a:pt x="32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5" name="Freeform 115">
              <a:extLst>
                <a:ext uri="{FF2B5EF4-FFF2-40B4-BE49-F238E27FC236}">
                  <a16:creationId xmlns:a16="http://schemas.microsoft.com/office/drawing/2014/main" id="{7E4D6564-7928-9860-074F-2DBA913D4ED2}"/>
                </a:ext>
              </a:extLst>
            </p:cNvPr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5160963" y="3173413"/>
              <a:ext cx="258763" cy="147638"/>
            </a:xfrm>
            <a:custGeom>
              <a:avLst/>
              <a:gdLst>
                <a:gd name="T0" fmla="*/ 241512 w 120"/>
                <a:gd name="T1" fmla="*/ 88583 h 80"/>
                <a:gd name="T2" fmla="*/ 224261 w 120"/>
                <a:gd name="T3" fmla="*/ 73819 h 80"/>
                <a:gd name="T4" fmla="*/ 241512 w 120"/>
                <a:gd name="T5" fmla="*/ 44291 h 80"/>
                <a:gd name="T6" fmla="*/ 224261 w 120"/>
                <a:gd name="T7" fmla="*/ 14764 h 80"/>
                <a:gd name="T8" fmla="*/ 207010 w 120"/>
                <a:gd name="T9" fmla="*/ 14764 h 80"/>
                <a:gd name="T10" fmla="*/ 138007 w 120"/>
                <a:gd name="T11" fmla="*/ 0 h 80"/>
                <a:gd name="T12" fmla="*/ 120756 w 120"/>
                <a:gd name="T13" fmla="*/ 14764 h 80"/>
                <a:gd name="T14" fmla="*/ 103505 w 120"/>
                <a:gd name="T15" fmla="*/ 0 h 80"/>
                <a:gd name="T16" fmla="*/ 0 w 120"/>
                <a:gd name="T17" fmla="*/ 29528 h 80"/>
                <a:gd name="T18" fmla="*/ 17251 w 120"/>
                <a:gd name="T19" fmla="*/ 103347 h 80"/>
                <a:gd name="T20" fmla="*/ 51753 w 120"/>
                <a:gd name="T21" fmla="*/ 103347 h 80"/>
                <a:gd name="T22" fmla="*/ 69003 w 120"/>
                <a:gd name="T23" fmla="*/ 118110 h 80"/>
                <a:gd name="T24" fmla="*/ 103505 w 120"/>
                <a:gd name="T25" fmla="*/ 132874 h 80"/>
                <a:gd name="T26" fmla="*/ 155258 w 120"/>
                <a:gd name="T27" fmla="*/ 147638 h 80"/>
                <a:gd name="T28" fmla="*/ 189760 w 120"/>
                <a:gd name="T29" fmla="*/ 147638 h 80"/>
                <a:gd name="T30" fmla="*/ 207010 w 120"/>
                <a:gd name="T31" fmla="*/ 147638 h 80"/>
                <a:gd name="T32" fmla="*/ 258763 w 120"/>
                <a:gd name="T33" fmla="*/ 118110 h 80"/>
                <a:gd name="T34" fmla="*/ 241512 w 120"/>
                <a:gd name="T35" fmla="*/ 88583 h 8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0"/>
                <a:gd name="T55" fmla="*/ 0 h 80"/>
                <a:gd name="T56" fmla="*/ 120 w 120"/>
                <a:gd name="T57" fmla="*/ 80 h 8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0" h="80">
                  <a:moveTo>
                    <a:pt x="112" y="48"/>
                  </a:moveTo>
                  <a:lnTo>
                    <a:pt x="104" y="40"/>
                  </a:lnTo>
                  <a:lnTo>
                    <a:pt x="112" y="24"/>
                  </a:lnTo>
                  <a:lnTo>
                    <a:pt x="104" y="8"/>
                  </a:lnTo>
                  <a:lnTo>
                    <a:pt x="96" y="8"/>
                  </a:lnTo>
                  <a:lnTo>
                    <a:pt x="64" y="0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0" y="16"/>
                  </a:lnTo>
                  <a:lnTo>
                    <a:pt x="8" y="56"/>
                  </a:lnTo>
                  <a:lnTo>
                    <a:pt x="24" y="56"/>
                  </a:lnTo>
                  <a:lnTo>
                    <a:pt x="32" y="64"/>
                  </a:lnTo>
                  <a:lnTo>
                    <a:pt x="48" y="72"/>
                  </a:lnTo>
                  <a:lnTo>
                    <a:pt x="72" y="80"/>
                  </a:lnTo>
                  <a:lnTo>
                    <a:pt x="88" y="80"/>
                  </a:lnTo>
                  <a:lnTo>
                    <a:pt x="96" y="80"/>
                  </a:lnTo>
                  <a:lnTo>
                    <a:pt x="120" y="64"/>
                  </a:lnTo>
                  <a:lnTo>
                    <a:pt x="112" y="4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6" name="Freeform 116">
              <a:extLst>
                <a:ext uri="{FF2B5EF4-FFF2-40B4-BE49-F238E27FC236}">
                  <a16:creationId xmlns:a16="http://schemas.microsoft.com/office/drawing/2014/main" id="{32BF7300-64E2-78F1-3DAF-9629FD46F737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4970463" y="3173413"/>
              <a:ext cx="207963" cy="192088"/>
            </a:xfrm>
            <a:custGeom>
              <a:avLst/>
              <a:gdLst>
                <a:gd name="T0" fmla="*/ 121312 w 96"/>
                <a:gd name="T1" fmla="*/ 14776 h 104"/>
                <a:gd name="T2" fmla="*/ 86651 w 96"/>
                <a:gd name="T3" fmla="*/ 0 h 104"/>
                <a:gd name="T4" fmla="*/ 69321 w 96"/>
                <a:gd name="T5" fmla="*/ 0 h 104"/>
                <a:gd name="T6" fmla="*/ 51991 w 96"/>
                <a:gd name="T7" fmla="*/ 29552 h 104"/>
                <a:gd name="T8" fmla="*/ 34661 w 96"/>
                <a:gd name="T9" fmla="*/ 29552 h 104"/>
                <a:gd name="T10" fmla="*/ 17330 w 96"/>
                <a:gd name="T11" fmla="*/ 59104 h 104"/>
                <a:gd name="T12" fmla="*/ 0 w 96"/>
                <a:gd name="T13" fmla="*/ 73880 h 104"/>
                <a:gd name="T14" fmla="*/ 0 w 96"/>
                <a:gd name="T15" fmla="*/ 103432 h 104"/>
                <a:gd name="T16" fmla="*/ 0 w 96"/>
                <a:gd name="T17" fmla="*/ 118208 h 104"/>
                <a:gd name="T18" fmla="*/ 0 w 96"/>
                <a:gd name="T19" fmla="*/ 132984 h 104"/>
                <a:gd name="T20" fmla="*/ 34661 w 96"/>
                <a:gd name="T21" fmla="*/ 162536 h 104"/>
                <a:gd name="T22" fmla="*/ 34661 w 96"/>
                <a:gd name="T23" fmla="*/ 192088 h 104"/>
                <a:gd name="T24" fmla="*/ 86651 w 96"/>
                <a:gd name="T25" fmla="*/ 192088 h 104"/>
                <a:gd name="T26" fmla="*/ 173303 w 96"/>
                <a:gd name="T27" fmla="*/ 192088 h 104"/>
                <a:gd name="T28" fmla="*/ 155972 w 96"/>
                <a:gd name="T29" fmla="*/ 177312 h 104"/>
                <a:gd name="T30" fmla="*/ 190633 w 96"/>
                <a:gd name="T31" fmla="*/ 162536 h 104"/>
                <a:gd name="T32" fmla="*/ 155972 w 96"/>
                <a:gd name="T33" fmla="*/ 132984 h 104"/>
                <a:gd name="T34" fmla="*/ 138642 w 96"/>
                <a:gd name="T35" fmla="*/ 118208 h 104"/>
                <a:gd name="T36" fmla="*/ 207963 w 96"/>
                <a:gd name="T37" fmla="*/ 88656 h 104"/>
                <a:gd name="T38" fmla="*/ 207963 w 96"/>
                <a:gd name="T39" fmla="*/ 103432 h 104"/>
                <a:gd name="T40" fmla="*/ 190633 w 96"/>
                <a:gd name="T41" fmla="*/ 29552 h 104"/>
                <a:gd name="T42" fmla="*/ 173303 w 96"/>
                <a:gd name="T43" fmla="*/ 14776 h 104"/>
                <a:gd name="T44" fmla="*/ 190633 w 96"/>
                <a:gd name="T45" fmla="*/ 14776 h 104"/>
                <a:gd name="T46" fmla="*/ 173303 w 96"/>
                <a:gd name="T47" fmla="*/ 0 h 104"/>
                <a:gd name="T48" fmla="*/ 121312 w 96"/>
                <a:gd name="T49" fmla="*/ 29552 h 104"/>
                <a:gd name="T50" fmla="*/ 121312 w 96"/>
                <a:gd name="T51" fmla="*/ 14776 h 10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96"/>
                <a:gd name="T79" fmla="*/ 0 h 104"/>
                <a:gd name="T80" fmla="*/ 96 w 96"/>
                <a:gd name="T81" fmla="*/ 104 h 10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96" h="104">
                  <a:moveTo>
                    <a:pt x="56" y="8"/>
                  </a:moveTo>
                  <a:lnTo>
                    <a:pt x="40" y="0"/>
                  </a:lnTo>
                  <a:lnTo>
                    <a:pt x="32" y="0"/>
                  </a:lnTo>
                  <a:lnTo>
                    <a:pt x="24" y="16"/>
                  </a:lnTo>
                  <a:lnTo>
                    <a:pt x="16" y="16"/>
                  </a:lnTo>
                  <a:lnTo>
                    <a:pt x="8" y="32"/>
                  </a:lnTo>
                  <a:lnTo>
                    <a:pt x="0" y="40"/>
                  </a:lnTo>
                  <a:lnTo>
                    <a:pt x="0" y="56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16" y="88"/>
                  </a:lnTo>
                  <a:lnTo>
                    <a:pt x="16" y="104"/>
                  </a:lnTo>
                  <a:lnTo>
                    <a:pt x="40" y="104"/>
                  </a:lnTo>
                  <a:lnTo>
                    <a:pt x="80" y="104"/>
                  </a:lnTo>
                  <a:lnTo>
                    <a:pt x="72" y="96"/>
                  </a:lnTo>
                  <a:lnTo>
                    <a:pt x="88" y="88"/>
                  </a:lnTo>
                  <a:lnTo>
                    <a:pt x="72" y="72"/>
                  </a:lnTo>
                  <a:lnTo>
                    <a:pt x="64" y="64"/>
                  </a:lnTo>
                  <a:lnTo>
                    <a:pt x="96" y="48"/>
                  </a:lnTo>
                  <a:lnTo>
                    <a:pt x="96" y="56"/>
                  </a:lnTo>
                  <a:lnTo>
                    <a:pt x="88" y="16"/>
                  </a:lnTo>
                  <a:lnTo>
                    <a:pt x="80" y="8"/>
                  </a:lnTo>
                  <a:lnTo>
                    <a:pt x="88" y="8"/>
                  </a:lnTo>
                  <a:lnTo>
                    <a:pt x="80" y="0"/>
                  </a:lnTo>
                  <a:lnTo>
                    <a:pt x="56" y="16"/>
                  </a:lnTo>
                  <a:lnTo>
                    <a:pt x="56" y="8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7" name="Freeform 117">
              <a:extLst>
                <a:ext uri="{FF2B5EF4-FFF2-40B4-BE49-F238E27FC236}">
                  <a16:creationId xmlns:a16="http://schemas.microsoft.com/office/drawing/2014/main" id="{A22EBCA6-83F5-91BD-C8CB-55E059B42AB6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4884738" y="3262313"/>
              <a:ext cx="85725" cy="44450"/>
            </a:xfrm>
            <a:custGeom>
              <a:avLst/>
              <a:gdLst>
                <a:gd name="T0" fmla="*/ 17145 w 40"/>
                <a:gd name="T1" fmla="*/ 0 h 24"/>
                <a:gd name="T2" fmla="*/ 51435 w 40"/>
                <a:gd name="T3" fmla="*/ 0 h 24"/>
                <a:gd name="T4" fmla="*/ 85725 w 40"/>
                <a:gd name="T5" fmla="*/ 14817 h 24"/>
                <a:gd name="T6" fmla="*/ 85725 w 40"/>
                <a:gd name="T7" fmla="*/ 29633 h 24"/>
                <a:gd name="T8" fmla="*/ 68580 w 40"/>
                <a:gd name="T9" fmla="*/ 44450 h 24"/>
                <a:gd name="T10" fmla="*/ 51435 w 40"/>
                <a:gd name="T11" fmla="*/ 44450 h 24"/>
                <a:gd name="T12" fmla="*/ 51435 w 40"/>
                <a:gd name="T13" fmla="*/ 29633 h 24"/>
                <a:gd name="T14" fmla="*/ 34290 w 40"/>
                <a:gd name="T15" fmla="*/ 44450 h 24"/>
                <a:gd name="T16" fmla="*/ 0 w 40"/>
                <a:gd name="T17" fmla="*/ 14817 h 24"/>
                <a:gd name="T18" fmla="*/ 17145 w 40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24"/>
                <a:gd name="T32" fmla="*/ 40 w 40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24">
                  <a:moveTo>
                    <a:pt x="8" y="0"/>
                  </a:moveTo>
                  <a:lnTo>
                    <a:pt x="24" y="0"/>
                  </a:lnTo>
                  <a:lnTo>
                    <a:pt x="40" y="8"/>
                  </a:lnTo>
                  <a:lnTo>
                    <a:pt x="40" y="16"/>
                  </a:lnTo>
                  <a:lnTo>
                    <a:pt x="32" y="24"/>
                  </a:lnTo>
                  <a:lnTo>
                    <a:pt x="24" y="24"/>
                  </a:lnTo>
                  <a:lnTo>
                    <a:pt x="24" y="16"/>
                  </a:lnTo>
                  <a:lnTo>
                    <a:pt x="16" y="24"/>
                  </a:lnTo>
                  <a:lnTo>
                    <a:pt x="0" y="8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8" name="Freeform 118">
              <a:extLst>
                <a:ext uri="{FF2B5EF4-FFF2-40B4-BE49-F238E27FC236}">
                  <a16:creationId xmlns:a16="http://schemas.microsoft.com/office/drawing/2014/main" id="{7D782BD9-DDB6-E423-0BC7-11BF4BFF23F1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4953001" y="2760663"/>
              <a:ext cx="554038" cy="323850"/>
            </a:xfrm>
            <a:custGeom>
              <a:avLst/>
              <a:gdLst>
                <a:gd name="T0" fmla="*/ 328960 w 256"/>
                <a:gd name="T1" fmla="*/ 73602 h 176"/>
                <a:gd name="T2" fmla="*/ 277019 w 256"/>
                <a:gd name="T3" fmla="*/ 73602 h 176"/>
                <a:gd name="T4" fmla="*/ 242392 w 256"/>
                <a:gd name="T5" fmla="*/ 103043 h 176"/>
                <a:gd name="T6" fmla="*/ 190451 w 256"/>
                <a:gd name="T7" fmla="*/ 161925 h 176"/>
                <a:gd name="T8" fmla="*/ 155823 w 256"/>
                <a:gd name="T9" fmla="*/ 176645 h 176"/>
                <a:gd name="T10" fmla="*/ 173137 w 256"/>
                <a:gd name="T11" fmla="*/ 250248 h 176"/>
                <a:gd name="T12" fmla="*/ 173137 w 256"/>
                <a:gd name="T13" fmla="*/ 279689 h 176"/>
                <a:gd name="T14" fmla="*/ 138510 w 256"/>
                <a:gd name="T15" fmla="*/ 309130 h 176"/>
                <a:gd name="T16" fmla="*/ 121196 w 256"/>
                <a:gd name="T17" fmla="*/ 294409 h 176"/>
                <a:gd name="T18" fmla="*/ 17314 w 256"/>
                <a:gd name="T19" fmla="*/ 323850 h 176"/>
                <a:gd name="T20" fmla="*/ 17314 w 256"/>
                <a:gd name="T21" fmla="*/ 294409 h 176"/>
                <a:gd name="T22" fmla="*/ 17314 w 256"/>
                <a:gd name="T23" fmla="*/ 279689 h 176"/>
                <a:gd name="T24" fmla="*/ 0 w 256"/>
                <a:gd name="T25" fmla="*/ 250248 h 176"/>
                <a:gd name="T26" fmla="*/ 51941 w 256"/>
                <a:gd name="T27" fmla="*/ 206086 h 176"/>
                <a:gd name="T28" fmla="*/ 86568 w 256"/>
                <a:gd name="T29" fmla="*/ 176645 h 176"/>
                <a:gd name="T30" fmla="*/ 155823 w 256"/>
                <a:gd name="T31" fmla="*/ 147205 h 176"/>
                <a:gd name="T32" fmla="*/ 242392 w 256"/>
                <a:gd name="T33" fmla="*/ 73602 h 176"/>
                <a:gd name="T34" fmla="*/ 225078 w 256"/>
                <a:gd name="T35" fmla="*/ 73602 h 176"/>
                <a:gd name="T36" fmla="*/ 242392 w 256"/>
                <a:gd name="T37" fmla="*/ 44161 h 176"/>
                <a:gd name="T38" fmla="*/ 259705 w 256"/>
                <a:gd name="T39" fmla="*/ 58882 h 176"/>
                <a:gd name="T40" fmla="*/ 259705 w 256"/>
                <a:gd name="T41" fmla="*/ 58882 h 176"/>
                <a:gd name="T42" fmla="*/ 294333 w 256"/>
                <a:gd name="T43" fmla="*/ 29441 h 176"/>
                <a:gd name="T44" fmla="*/ 380901 w 256"/>
                <a:gd name="T45" fmla="*/ 14720 h 176"/>
                <a:gd name="T46" fmla="*/ 432842 w 256"/>
                <a:gd name="T47" fmla="*/ 0 h 176"/>
                <a:gd name="T48" fmla="*/ 450156 w 256"/>
                <a:gd name="T49" fmla="*/ 14720 h 176"/>
                <a:gd name="T50" fmla="*/ 484783 w 256"/>
                <a:gd name="T51" fmla="*/ 0 h 176"/>
                <a:gd name="T52" fmla="*/ 554038 w 256"/>
                <a:gd name="T53" fmla="*/ 14720 h 176"/>
                <a:gd name="T54" fmla="*/ 554038 w 256"/>
                <a:gd name="T55" fmla="*/ 44161 h 176"/>
                <a:gd name="T56" fmla="*/ 519411 w 256"/>
                <a:gd name="T57" fmla="*/ 44161 h 176"/>
                <a:gd name="T58" fmla="*/ 450156 w 256"/>
                <a:gd name="T59" fmla="*/ 29441 h 176"/>
                <a:gd name="T60" fmla="*/ 432842 w 256"/>
                <a:gd name="T61" fmla="*/ 58882 h 176"/>
                <a:gd name="T62" fmla="*/ 346274 w 256"/>
                <a:gd name="T63" fmla="*/ 44161 h 17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56"/>
                <a:gd name="T97" fmla="*/ 0 h 176"/>
                <a:gd name="T98" fmla="*/ 256 w 256"/>
                <a:gd name="T99" fmla="*/ 176 h 17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56" h="176">
                  <a:moveTo>
                    <a:pt x="152" y="32"/>
                  </a:moveTo>
                  <a:lnTo>
                    <a:pt x="152" y="40"/>
                  </a:lnTo>
                  <a:lnTo>
                    <a:pt x="136" y="32"/>
                  </a:lnTo>
                  <a:lnTo>
                    <a:pt x="128" y="40"/>
                  </a:lnTo>
                  <a:lnTo>
                    <a:pt x="120" y="40"/>
                  </a:lnTo>
                  <a:lnTo>
                    <a:pt x="112" y="56"/>
                  </a:lnTo>
                  <a:lnTo>
                    <a:pt x="96" y="64"/>
                  </a:lnTo>
                  <a:lnTo>
                    <a:pt x="88" y="88"/>
                  </a:lnTo>
                  <a:lnTo>
                    <a:pt x="96" y="96"/>
                  </a:lnTo>
                  <a:lnTo>
                    <a:pt x="72" y="96"/>
                  </a:lnTo>
                  <a:lnTo>
                    <a:pt x="72" y="112"/>
                  </a:lnTo>
                  <a:lnTo>
                    <a:pt x="80" y="136"/>
                  </a:lnTo>
                  <a:lnTo>
                    <a:pt x="72" y="136"/>
                  </a:lnTo>
                  <a:lnTo>
                    <a:pt x="80" y="152"/>
                  </a:lnTo>
                  <a:lnTo>
                    <a:pt x="72" y="152"/>
                  </a:lnTo>
                  <a:lnTo>
                    <a:pt x="64" y="168"/>
                  </a:lnTo>
                  <a:lnTo>
                    <a:pt x="64" y="160"/>
                  </a:lnTo>
                  <a:lnTo>
                    <a:pt x="56" y="160"/>
                  </a:lnTo>
                  <a:lnTo>
                    <a:pt x="24" y="176"/>
                  </a:lnTo>
                  <a:lnTo>
                    <a:pt x="8" y="176"/>
                  </a:lnTo>
                  <a:lnTo>
                    <a:pt x="8" y="168"/>
                  </a:lnTo>
                  <a:lnTo>
                    <a:pt x="8" y="160"/>
                  </a:lnTo>
                  <a:lnTo>
                    <a:pt x="0" y="160"/>
                  </a:lnTo>
                  <a:lnTo>
                    <a:pt x="8" y="152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8"/>
                  </a:lnTo>
                  <a:lnTo>
                    <a:pt x="24" y="112"/>
                  </a:lnTo>
                  <a:lnTo>
                    <a:pt x="32" y="112"/>
                  </a:lnTo>
                  <a:lnTo>
                    <a:pt x="40" y="96"/>
                  </a:lnTo>
                  <a:lnTo>
                    <a:pt x="48" y="104"/>
                  </a:lnTo>
                  <a:lnTo>
                    <a:pt x="72" y="80"/>
                  </a:lnTo>
                  <a:lnTo>
                    <a:pt x="88" y="56"/>
                  </a:lnTo>
                  <a:lnTo>
                    <a:pt x="112" y="40"/>
                  </a:lnTo>
                  <a:lnTo>
                    <a:pt x="80" y="48"/>
                  </a:lnTo>
                  <a:lnTo>
                    <a:pt x="104" y="40"/>
                  </a:lnTo>
                  <a:lnTo>
                    <a:pt x="96" y="32"/>
                  </a:lnTo>
                  <a:lnTo>
                    <a:pt x="112" y="24"/>
                  </a:lnTo>
                  <a:lnTo>
                    <a:pt x="112" y="32"/>
                  </a:lnTo>
                  <a:lnTo>
                    <a:pt x="120" y="32"/>
                  </a:lnTo>
                  <a:lnTo>
                    <a:pt x="128" y="32"/>
                  </a:lnTo>
                  <a:lnTo>
                    <a:pt x="120" y="32"/>
                  </a:lnTo>
                  <a:lnTo>
                    <a:pt x="120" y="24"/>
                  </a:lnTo>
                  <a:lnTo>
                    <a:pt x="136" y="16"/>
                  </a:lnTo>
                  <a:lnTo>
                    <a:pt x="160" y="16"/>
                  </a:lnTo>
                  <a:lnTo>
                    <a:pt x="176" y="8"/>
                  </a:lnTo>
                  <a:lnTo>
                    <a:pt x="192" y="8"/>
                  </a:lnTo>
                  <a:lnTo>
                    <a:pt x="200" y="0"/>
                  </a:lnTo>
                  <a:lnTo>
                    <a:pt x="200" y="8"/>
                  </a:lnTo>
                  <a:lnTo>
                    <a:pt x="208" y="8"/>
                  </a:lnTo>
                  <a:lnTo>
                    <a:pt x="216" y="8"/>
                  </a:lnTo>
                  <a:lnTo>
                    <a:pt x="224" y="0"/>
                  </a:lnTo>
                  <a:lnTo>
                    <a:pt x="232" y="8"/>
                  </a:lnTo>
                  <a:lnTo>
                    <a:pt x="256" y="8"/>
                  </a:lnTo>
                  <a:lnTo>
                    <a:pt x="232" y="16"/>
                  </a:lnTo>
                  <a:lnTo>
                    <a:pt x="256" y="24"/>
                  </a:lnTo>
                  <a:lnTo>
                    <a:pt x="240" y="32"/>
                  </a:lnTo>
                  <a:lnTo>
                    <a:pt x="240" y="24"/>
                  </a:lnTo>
                  <a:lnTo>
                    <a:pt x="224" y="16"/>
                  </a:lnTo>
                  <a:lnTo>
                    <a:pt x="208" y="16"/>
                  </a:lnTo>
                  <a:lnTo>
                    <a:pt x="208" y="32"/>
                  </a:lnTo>
                  <a:lnTo>
                    <a:pt x="200" y="32"/>
                  </a:lnTo>
                  <a:lnTo>
                    <a:pt x="176" y="32"/>
                  </a:lnTo>
                  <a:lnTo>
                    <a:pt x="160" y="24"/>
                  </a:lnTo>
                  <a:lnTo>
                    <a:pt x="152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9" name="Freeform 119">
              <a:extLst>
                <a:ext uri="{FF2B5EF4-FFF2-40B4-BE49-F238E27FC236}">
                  <a16:creationId xmlns:a16="http://schemas.microsoft.com/office/drawing/2014/main" id="{791F5338-3ABA-93A5-1016-B41886485D56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5091113" y="2819401"/>
              <a:ext cx="277813" cy="339725"/>
            </a:xfrm>
            <a:custGeom>
              <a:avLst/>
              <a:gdLst>
                <a:gd name="T0" fmla="*/ 0 w 128"/>
                <a:gd name="T1" fmla="*/ 251101 h 184"/>
                <a:gd name="T2" fmla="*/ 17363 w 128"/>
                <a:gd name="T3" fmla="*/ 221560 h 184"/>
                <a:gd name="T4" fmla="*/ 34727 w 128"/>
                <a:gd name="T5" fmla="*/ 221560 h 184"/>
                <a:gd name="T6" fmla="*/ 17363 w 128"/>
                <a:gd name="T7" fmla="*/ 192018 h 184"/>
                <a:gd name="T8" fmla="*/ 34727 w 128"/>
                <a:gd name="T9" fmla="*/ 192018 h 184"/>
                <a:gd name="T10" fmla="*/ 17363 w 128"/>
                <a:gd name="T11" fmla="*/ 147707 h 184"/>
                <a:gd name="T12" fmla="*/ 17363 w 128"/>
                <a:gd name="T13" fmla="*/ 118165 h 184"/>
                <a:gd name="T14" fmla="*/ 69453 w 128"/>
                <a:gd name="T15" fmla="*/ 118165 h 184"/>
                <a:gd name="T16" fmla="*/ 52090 w 128"/>
                <a:gd name="T17" fmla="*/ 103395 h 184"/>
                <a:gd name="T18" fmla="*/ 69453 w 128"/>
                <a:gd name="T19" fmla="*/ 59083 h 184"/>
                <a:gd name="T20" fmla="*/ 104180 w 128"/>
                <a:gd name="T21" fmla="*/ 44312 h 184"/>
                <a:gd name="T22" fmla="*/ 121543 w 128"/>
                <a:gd name="T23" fmla="*/ 14771 h 184"/>
                <a:gd name="T24" fmla="*/ 138907 w 128"/>
                <a:gd name="T25" fmla="*/ 14771 h 184"/>
                <a:gd name="T26" fmla="*/ 156270 w 128"/>
                <a:gd name="T27" fmla="*/ 0 h 184"/>
                <a:gd name="T28" fmla="*/ 190996 w 128"/>
                <a:gd name="T29" fmla="*/ 14771 h 184"/>
                <a:gd name="T30" fmla="*/ 190996 w 128"/>
                <a:gd name="T31" fmla="*/ 0 h 184"/>
                <a:gd name="T32" fmla="*/ 260450 w 128"/>
                <a:gd name="T33" fmla="*/ 14771 h 184"/>
                <a:gd name="T34" fmla="*/ 277813 w 128"/>
                <a:gd name="T35" fmla="*/ 73853 h 184"/>
                <a:gd name="T36" fmla="*/ 243086 w 128"/>
                <a:gd name="T37" fmla="*/ 73853 h 184"/>
                <a:gd name="T38" fmla="*/ 225723 w 128"/>
                <a:gd name="T39" fmla="*/ 103395 h 184"/>
                <a:gd name="T40" fmla="*/ 138907 w 128"/>
                <a:gd name="T41" fmla="*/ 162477 h 184"/>
                <a:gd name="T42" fmla="*/ 138907 w 128"/>
                <a:gd name="T43" fmla="*/ 192018 h 184"/>
                <a:gd name="T44" fmla="*/ 173633 w 128"/>
                <a:gd name="T45" fmla="*/ 221560 h 184"/>
                <a:gd name="T46" fmla="*/ 156270 w 128"/>
                <a:gd name="T47" fmla="*/ 236330 h 184"/>
                <a:gd name="T48" fmla="*/ 173633 w 128"/>
                <a:gd name="T49" fmla="*/ 236330 h 184"/>
                <a:gd name="T50" fmla="*/ 138907 w 128"/>
                <a:gd name="T51" fmla="*/ 251101 h 184"/>
                <a:gd name="T52" fmla="*/ 121543 w 128"/>
                <a:gd name="T53" fmla="*/ 310184 h 184"/>
                <a:gd name="T54" fmla="*/ 86817 w 128"/>
                <a:gd name="T55" fmla="*/ 310184 h 184"/>
                <a:gd name="T56" fmla="*/ 69453 w 128"/>
                <a:gd name="T57" fmla="*/ 339725 h 184"/>
                <a:gd name="T58" fmla="*/ 52090 w 128"/>
                <a:gd name="T59" fmla="*/ 339725 h 184"/>
                <a:gd name="T60" fmla="*/ 34727 w 128"/>
                <a:gd name="T61" fmla="*/ 310184 h 184"/>
                <a:gd name="T62" fmla="*/ 0 w 128"/>
                <a:gd name="T63" fmla="*/ 236330 h 184"/>
                <a:gd name="T64" fmla="*/ 0 w 128"/>
                <a:gd name="T65" fmla="*/ 251101 h 18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8"/>
                <a:gd name="T100" fmla="*/ 0 h 184"/>
                <a:gd name="T101" fmla="*/ 128 w 128"/>
                <a:gd name="T102" fmla="*/ 184 h 18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8" h="184">
                  <a:moveTo>
                    <a:pt x="0" y="136"/>
                  </a:moveTo>
                  <a:lnTo>
                    <a:pt x="8" y="120"/>
                  </a:lnTo>
                  <a:lnTo>
                    <a:pt x="16" y="120"/>
                  </a:lnTo>
                  <a:lnTo>
                    <a:pt x="8" y="104"/>
                  </a:lnTo>
                  <a:lnTo>
                    <a:pt x="16" y="104"/>
                  </a:lnTo>
                  <a:lnTo>
                    <a:pt x="8" y="80"/>
                  </a:lnTo>
                  <a:lnTo>
                    <a:pt x="8" y="64"/>
                  </a:lnTo>
                  <a:lnTo>
                    <a:pt x="32" y="64"/>
                  </a:lnTo>
                  <a:lnTo>
                    <a:pt x="24" y="56"/>
                  </a:lnTo>
                  <a:lnTo>
                    <a:pt x="32" y="32"/>
                  </a:lnTo>
                  <a:lnTo>
                    <a:pt x="48" y="24"/>
                  </a:lnTo>
                  <a:lnTo>
                    <a:pt x="56" y="8"/>
                  </a:lnTo>
                  <a:lnTo>
                    <a:pt x="64" y="8"/>
                  </a:lnTo>
                  <a:lnTo>
                    <a:pt x="72" y="0"/>
                  </a:lnTo>
                  <a:lnTo>
                    <a:pt x="88" y="8"/>
                  </a:lnTo>
                  <a:lnTo>
                    <a:pt x="88" y="0"/>
                  </a:lnTo>
                  <a:lnTo>
                    <a:pt x="120" y="8"/>
                  </a:lnTo>
                  <a:lnTo>
                    <a:pt x="128" y="40"/>
                  </a:lnTo>
                  <a:lnTo>
                    <a:pt x="112" y="40"/>
                  </a:lnTo>
                  <a:lnTo>
                    <a:pt x="104" y="56"/>
                  </a:lnTo>
                  <a:lnTo>
                    <a:pt x="64" y="88"/>
                  </a:lnTo>
                  <a:lnTo>
                    <a:pt x="64" y="104"/>
                  </a:lnTo>
                  <a:lnTo>
                    <a:pt x="80" y="120"/>
                  </a:lnTo>
                  <a:lnTo>
                    <a:pt x="72" y="128"/>
                  </a:lnTo>
                  <a:lnTo>
                    <a:pt x="80" y="128"/>
                  </a:lnTo>
                  <a:lnTo>
                    <a:pt x="64" y="136"/>
                  </a:lnTo>
                  <a:lnTo>
                    <a:pt x="56" y="168"/>
                  </a:lnTo>
                  <a:lnTo>
                    <a:pt x="40" y="168"/>
                  </a:lnTo>
                  <a:lnTo>
                    <a:pt x="32" y="184"/>
                  </a:lnTo>
                  <a:lnTo>
                    <a:pt x="24" y="184"/>
                  </a:lnTo>
                  <a:lnTo>
                    <a:pt x="16" y="168"/>
                  </a:lnTo>
                  <a:lnTo>
                    <a:pt x="0" y="128"/>
                  </a:lnTo>
                  <a:lnTo>
                    <a:pt x="0" y="13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0" name="Freeform 120">
              <a:extLst>
                <a:ext uri="{FF2B5EF4-FFF2-40B4-BE49-F238E27FC236}">
                  <a16:creationId xmlns:a16="http://schemas.microsoft.com/office/drawing/2014/main" id="{EE467802-AB27-A18E-AEB5-153E4D36BE96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5281613" y="2790826"/>
              <a:ext cx="258763" cy="250825"/>
            </a:xfrm>
            <a:custGeom>
              <a:avLst/>
              <a:gdLst>
                <a:gd name="T0" fmla="*/ 189760 w 120"/>
                <a:gd name="T1" fmla="*/ 29509 h 136"/>
                <a:gd name="T2" fmla="*/ 172509 w 120"/>
                <a:gd name="T3" fmla="*/ 29509 h 136"/>
                <a:gd name="T4" fmla="*/ 172509 w 120"/>
                <a:gd name="T5" fmla="*/ 44263 h 136"/>
                <a:gd name="T6" fmla="*/ 207010 w 120"/>
                <a:gd name="T7" fmla="*/ 59018 h 136"/>
                <a:gd name="T8" fmla="*/ 207010 w 120"/>
                <a:gd name="T9" fmla="*/ 73772 h 136"/>
                <a:gd name="T10" fmla="*/ 224261 w 120"/>
                <a:gd name="T11" fmla="*/ 103281 h 136"/>
                <a:gd name="T12" fmla="*/ 224261 w 120"/>
                <a:gd name="T13" fmla="*/ 118035 h 136"/>
                <a:gd name="T14" fmla="*/ 241512 w 120"/>
                <a:gd name="T15" fmla="*/ 132790 h 136"/>
                <a:gd name="T16" fmla="*/ 241512 w 120"/>
                <a:gd name="T17" fmla="*/ 147544 h 136"/>
                <a:gd name="T18" fmla="*/ 258763 w 120"/>
                <a:gd name="T19" fmla="*/ 177053 h 136"/>
                <a:gd name="T20" fmla="*/ 189760 w 120"/>
                <a:gd name="T21" fmla="*/ 236071 h 136"/>
                <a:gd name="T22" fmla="*/ 103505 w 120"/>
                <a:gd name="T23" fmla="*/ 250825 h 136"/>
                <a:gd name="T24" fmla="*/ 51753 w 120"/>
                <a:gd name="T25" fmla="*/ 236071 h 136"/>
                <a:gd name="T26" fmla="*/ 51753 w 120"/>
                <a:gd name="T27" fmla="*/ 206562 h 136"/>
                <a:gd name="T28" fmla="*/ 34502 w 120"/>
                <a:gd name="T29" fmla="*/ 177053 h 136"/>
                <a:gd name="T30" fmla="*/ 51753 w 120"/>
                <a:gd name="T31" fmla="*/ 177053 h 136"/>
                <a:gd name="T32" fmla="*/ 120756 w 120"/>
                <a:gd name="T33" fmla="*/ 118035 h 136"/>
                <a:gd name="T34" fmla="*/ 120756 w 120"/>
                <a:gd name="T35" fmla="*/ 103281 h 136"/>
                <a:gd name="T36" fmla="*/ 103505 w 120"/>
                <a:gd name="T37" fmla="*/ 103281 h 136"/>
                <a:gd name="T38" fmla="*/ 86254 w 120"/>
                <a:gd name="T39" fmla="*/ 103281 h 136"/>
                <a:gd name="T40" fmla="*/ 69003 w 120"/>
                <a:gd name="T41" fmla="*/ 44263 h 136"/>
                <a:gd name="T42" fmla="*/ 0 w 120"/>
                <a:gd name="T43" fmla="*/ 29509 h 136"/>
                <a:gd name="T44" fmla="*/ 17251 w 120"/>
                <a:gd name="T45" fmla="*/ 14754 h 136"/>
                <a:gd name="T46" fmla="*/ 51753 w 120"/>
                <a:gd name="T47" fmla="*/ 29509 h 136"/>
                <a:gd name="T48" fmla="*/ 103505 w 120"/>
                <a:gd name="T49" fmla="*/ 29509 h 136"/>
                <a:gd name="T50" fmla="*/ 120756 w 120"/>
                <a:gd name="T51" fmla="*/ 29509 h 136"/>
                <a:gd name="T52" fmla="*/ 120756 w 120"/>
                <a:gd name="T53" fmla="*/ 0 h 136"/>
                <a:gd name="T54" fmla="*/ 155258 w 120"/>
                <a:gd name="T55" fmla="*/ 0 h 136"/>
                <a:gd name="T56" fmla="*/ 189760 w 120"/>
                <a:gd name="T57" fmla="*/ 14754 h 136"/>
                <a:gd name="T58" fmla="*/ 189760 w 120"/>
                <a:gd name="T59" fmla="*/ 29509 h 1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0"/>
                <a:gd name="T91" fmla="*/ 0 h 136"/>
                <a:gd name="T92" fmla="*/ 120 w 120"/>
                <a:gd name="T93" fmla="*/ 136 h 1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0" h="136">
                  <a:moveTo>
                    <a:pt x="88" y="16"/>
                  </a:moveTo>
                  <a:lnTo>
                    <a:pt x="80" y="16"/>
                  </a:lnTo>
                  <a:lnTo>
                    <a:pt x="80" y="24"/>
                  </a:lnTo>
                  <a:lnTo>
                    <a:pt x="96" y="32"/>
                  </a:lnTo>
                  <a:lnTo>
                    <a:pt x="96" y="40"/>
                  </a:lnTo>
                  <a:lnTo>
                    <a:pt x="104" y="56"/>
                  </a:lnTo>
                  <a:lnTo>
                    <a:pt x="104" y="64"/>
                  </a:lnTo>
                  <a:lnTo>
                    <a:pt x="112" y="72"/>
                  </a:lnTo>
                  <a:lnTo>
                    <a:pt x="112" y="80"/>
                  </a:lnTo>
                  <a:lnTo>
                    <a:pt x="120" y="96"/>
                  </a:lnTo>
                  <a:lnTo>
                    <a:pt x="88" y="128"/>
                  </a:lnTo>
                  <a:lnTo>
                    <a:pt x="48" y="136"/>
                  </a:lnTo>
                  <a:lnTo>
                    <a:pt x="24" y="128"/>
                  </a:lnTo>
                  <a:lnTo>
                    <a:pt x="24" y="112"/>
                  </a:lnTo>
                  <a:lnTo>
                    <a:pt x="16" y="96"/>
                  </a:lnTo>
                  <a:lnTo>
                    <a:pt x="24" y="96"/>
                  </a:lnTo>
                  <a:lnTo>
                    <a:pt x="56" y="64"/>
                  </a:lnTo>
                  <a:lnTo>
                    <a:pt x="56" y="56"/>
                  </a:lnTo>
                  <a:lnTo>
                    <a:pt x="48" y="56"/>
                  </a:lnTo>
                  <a:lnTo>
                    <a:pt x="40" y="56"/>
                  </a:lnTo>
                  <a:lnTo>
                    <a:pt x="32" y="24"/>
                  </a:lnTo>
                  <a:lnTo>
                    <a:pt x="0" y="16"/>
                  </a:lnTo>
                  <a:lnTo>
                    <a:pt x="8" y="8"/>
                  </a:lnTo>
                  <a:lnTo>
                    <a:pt x="24" y="16"/>
                  </a:lnTo>
                  <a:lnTo>
                    <a:pt x="48" y="16"/>
                  </a:lnTo>
                  <a:lnTo>
                    <a:pt x="56" y="16"/>
                  </a:lnTo>
                  <a:lnTo>
                    <a:pt x="56" y="0"/>
                  </a:lnTo>
                  <a:lnTo>
                    <a:pt x="72" y="0"/>
                  </a:lnTo>
                  <a:lnTo>
                    <a:pt x="88" y="8"/>
                  </a:lnTo>
                  <a:lnTo>
                    <a:pt x="88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1" name="Freeform 121">
              <a:extLst>
                <a:ext uri="{FF2B5EF4-FFF2-40B4-BE49-F238E27FC236}">
                  <a16:creationId xmlns:a16="http://schemas.microsoft.com/office/drawing/2014/main" id="{55F1B3ED-291F-C582-02D7-F40A9FC8EF64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1598613" y="2701926"/>
              <a:ext cx="1851025" cy="825500"/>
            </a:xfrm>
            <a:custGeom>
              <a:avLst/>
              <a:gdLst>
                <a:gd name="T0" fmla="*/ 1522338 w 856"/>
                <a:gd name="T1" fmla="*/ 722313 h 448"/>
                <a:gd name="T2" fmla="*/ 1487740 w 856"/>
                <a:gd name="T3" fmla="*/ 781277 h 448"/>
                <a:gd name="T4" fmla="*/ 1660733 w 856"/>
                <a:gd name="T5" fmla="*/ 707571 h 448"/>
                <a:gd name="T6" fmla="*/ 1626134 w 856"/>
                <a:gd name="T7" fmla="*/ 707571 h 448"/>
                <a:gd name="T8" fmla="*/ 1556937 w 856"/>
                <a:gd name="T9" fmla="*/ 663348 h 448"/>
                <a:gd name="T10" fmla="*/ 1591536 w 856"/>
                <a:gd name="T11" fmla="*/ 633866 h 448"/>
                <a:gd name="T12" fmla="*/ 1383944 w 856"/>
                <a:gd name="T13" fmla="*/ 678089 h 448"/>
                <a:gd name="T14" fmla="*/ 1522338 w 856"/>
                <a:gd name="T15" fmla="*/ 619125 h 448"/>
                <a:gd name="T16" fmla="*/ 1712631 w 856"/>
                <a:gd name="T17" fmla="*/ 589643 h 448"/>
                <a:gd name="T18" fmla="*/ 1851025 w 856"/>
                <a:gd name="T19" fmla="*/ 515938 h 448"/>
                <a:gd name="T20" fmla="*/ 1833726 w 856"/>
                <a:gd name="T21" fmla="*/ 486455 h 448"/>
                <a:gd name="T22" fmla="*/ 1799127 w 856"/>
                <a:gd name="T23" fmla="*/ 471714 h 448"/>
                <a:gd name="T24" fmla="*/ 1781828 w 856"/>
                <a:gd name="T25" fmla="*/ 442232 h 448"/>
                <a:gd name="T26" fmla="*/ 1747229 w 856"/>
                <a:gd name="T27" fmla="*/ 324304 h 448"/>
                <a:gd name="T28" fmla="*/ 1643433 w 856"/>
                <a:gd name="T29" fmla="*/ 383268 h 448"/>
                <a:gd name="T30" fmla="*/ 1608835 w 856"/>
                <a:gd name="T31" fmla="*/ 309563 h 448"/>
                <a:gd name="T32" fmla="*/ 1505039 w 856"/>
                <a:gd name="T33" fmla="*/ 265339 h 448"/>
                <a:gd name="T34" fmla="*/ 1453141 w 856"/>
                <a:gd name="T35" fmla="*/ 309563 h 448"/>
                <a:gd name="T36" fmla="*/ 1401243 w 856"/>
                <a:gd name="T37" fmla="*/ 368527 h 448"/>
                <a:gd name="T38" fmla="*/ 1297448 w 856"/>
                <a:gd name="T39" fmla="*/ 471714 h 448"/>
                <a:gd name="T40" fmla="*/ 1228250 w 856"/>
                <a:gd name="T41" fmla="*/ 574902 h 448"/>
                <a:gd name="T42" fmla="*/ 1176353 w 856"/>
                <a:gd name="T43" fmla="*/ 456973 h 448"/>
                <a:gd name="T44" fmla="*/ 1055257 w 856"/>
                <a:gd name="T45" fmla="*/ 368527 h 448"/>
                <a:gd name="T46" fmla="*/ 1089856 w 856"/>
                <a:gd name="T47" fmla="*/ 309563 h 448"/>
                <a:gd name="T48" fmla="*/ 1210951 w 856"/>
                <a:gd name="T49" fmla="*/ 265339 h 448"/>
                <a:gd name="T50" fmla="*/ 1332046 w 856"/>
                <a:gd name="T51" fmla="*/ 206375 h 448"/>
                <a:gd name="T52" fmla="*/ 1435842 w 856"/>
                <a:gd name="T53" fmla="*/ 176893 h 448"/>
                <a:gd name="T54" fmla="*/ 1505039 w 856"/>
                <a:gd name="T55" fmla="*/ 147411 h 448"/>
                <a:gd name="T56" fmla="*/ 1539638 w 856"/>
                <a:gd name="T57" fmla="*/ 103188 h 448"/>
                <a:gd name="T58" fmla="*/ 1383944 w 856"/>
                <a:gd name="T59" fmla="*/ 162152 h 448"/>
                <a:gd name="T60" fmla="*/ 1401243 w 856"/>
                <a:gd name="T61" fmla="*/ 103188 h 448"/>
                <a:gd name="T62" fmla="*/ 1332046 w 856"/>
                <a:gd name="T63" fmla="*/ 88446 h 448"/>
                <a:gd name="T64" fmla="*/ 1383944 w 856"/>
                <a:gd name="T65" fmla="*/ 44223 h 448"/>
                <a:gd name="T66" fmla="*/ 1487740 w 856"/>
                <a:gd name="T67" fmla="*/ 0 h 448"/>
                <a:gd name="T68" fmla="*/ 1332046 w 856"/>
                <a:gd name="T69" fmla="*/ 44223 h 448"/>
                <a:gd name="T70" fmla="*/ 1297448 w 856"/>
                <a:gd name="T71" fmla="*/ 103188 h 448"/>
                <a:gd name="T72" fmla="*/ 1193652 w 856"/>
                <a:gd name="T73" fmla="*/ 147411 h 448"/>
                <a:gd name="T74" fmla="*/ 1245550 w 856"/>
                <a:gd name="T75" fmla="*/ 103188 h 448"/>
                <a:gd name="T76" fmla="*/ 1193652 w 856"/>
                <a:gd name="T77" fmla="*/ 117929 h 448"/>
                <a:gd name="T78" fmla="*/ 1037958 w 856"/>
                <a:gd name="T79" fmla="*/ 132670 h 448"/>
                <a:gd name="T80" fmla="*/ 968761 w 856"/>
                <a:gd name="T81" fmla="*/ 132670 h 448"/>
                <a:gd name="T82" fmla="*/ 847666 w 856"/>
                <a:gd name="T83" fmla="*/ 147411 h 448"/>
                <a:gd name="T84" fmla="*/ 847666 w 856"/>
                <a:gd name="T85" fmla="*/ 117929 h 448"/>
                <a:gd name="T86" fmla="*/ 709271 w 856"/>
                <a:gd name="T87" fmla="*/ 88446 h 448"/>
                <a:gd name="T88" fmla="*/ 674673 w 856"/>
                <a:gd name="T89" fmla="*/ 88446 h 448"/>
                <a:gd name="T90" fmla="*/ 640074 w 856"/>
                <a:gd name="T91" fmla="*/ 88446 h 448"/>
                <a:gd name="T92" fmla="*/ 467081 w 856"/>
                <a:gd name="T93" fmla="*/ 103188 h 448"/>
                <a:gd name="T94" fmla="*/ 328687 w 856"/>
                <a:gd name="T95" fmla="*/ 103188 h 448"/>
                <a:gd name="T96" fmla="*/ 17299 w 856"/>
                <a:gd name="T97" fmla="*/ 339045 h 448"/>
                <a:gd name="T98" fmla="*/ 103796 w 856"/>
                <a:gd name="T99" fmla="*/ 368527 h 448"/>
                <a:gd name="T100" fmla="*/ 86497 w 856"/>
                <a:gd name="T101" fmla="*/ 471714 h 448"/>
                <a:gd name="T102" fmla="*/ 51898 w 856"/>
                <a:gd name="T103" fmla="*/ 530679 h 448"/>
                <a:gd name="T104" fmla="*/ 103796 w 856"/>
                <a:gd name="T105" fmla="*/ 619125 h 448"/>
                <a:gd name="T106" fmla="*/ 830366 w 856"/>
                <a:gd name="T107" fmla="*/ 633866 h 448"/>
                <a:gd name="T108" fmla="*/ 986060 w 856"/>
                <a:gd name="T109" fmla="*/ 619125 h 448"/>
                <a:gd name="T110" fmla="*/ 1055257 w 856"/>
                <a:gd name="T111" fmla="*/ 648607 h 448"/>
                <a:gd name="T112" fmla="*/ 1141754 w 856"/>
                <a:gd name="T113" fmla="*/ 737054 h 448"/>
                <a:gd name="T114" fmla="*/ 1055257 w 856"/>
                <a:gd name="T115" fmla="*/ 781277 h 448"/>
                <a:gd name="T116" fmla="*/ 1055257 w 856"/>
                <a:gd name="T117" fmla="*/ 796018 h 448"/>
                <a:gd name="T118" fmla="*/ 1107155 w 856"/>
                <a:gd name="T119" fmla="*/ 781277 h 448"/>
                <a:gd name="T120" fmla="*/ 1228250 w 856"/>
                <a:gd name="T121" fmla="*/ 751795 h 448"/>
                <a:gd name="T122" fmla="*/ 1383944 w 856"/>
                <a:gd name="T123" fmla="*/ 722313 h 448"/>
                <a:gd name="T124" fmla="*/ 1453141 w 856"/>
                <a:gd name="T125" fmla="*/ 722313 h 44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56"/>
                <a:gd name="T190" fmla="*/ 0 h 448"/>
                <a:gd name="T191" fmla="*/ 856 w 856"/>
                <a:gd name="T192" fmla="*/ 448 h 44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56" h="448">
                  <a:moveTo>
                    <a:pt x="680" y="392"/>
                  </a:moveTo>
                  <a:lnTo>
                    <a:pt x="712" y="392"/>
                  </a:lnTo>
                  <a:lnTo>
                    <a:pt x="704" y="392"/>
                  </a:lnTo>
                  <a:lnTo>
                    <a:pt x="712" y="392"/>
                  </a:lnTo>
                  <a:lnTo>
                    <a:pt x="688" y="408"/>
                  </a:lnTo>
                  <a:lnTo>
                    <a:pt x="688" y="424"/>
                  </a:lnTo>
                  <a:lnTo>
                    <a:pt x="712" y="408"/>
                  </a:lnTo>
                  <a:lnTo>
                    <a:pt x="752" y="392"/>
                  </a:lnTo>
                  <a:lnTo>
                    <a:pt x="768" y="384"/>
                  </a:lnTo>
                  <a:lnTo>
                    <a:pt x="768" y="376"/>
                  </a:lnTo>
                  <a:lnTo>
                    <a:pt x="768" y="368"/>
                  </a:lnTo>
                  <a:lnTo>
                    <a:pt x="752" y="384"/>
                  </a:lnTo>
                  <a:lnTo>
                    <a:pt x="728" y="384"/>
                  </a:lnTo>
                  <a:lnTo>
                    <a:pt x="712" y="376"/>
                  </a:lnTo>
                  <a:lnTo>
                    <a:pt x="720" y="360"/>
                  </a:lnTo>
                  <a:lnTo>
                    <a:pt x="712" y="360"/>
                  </a:lnTo>
                  <a:lnTo>
                    <a:pt x="704" y="352"/>
                  </a:lnTo>
                  <a:lnTo>
                    <a:pt x="736" y="344"/>
                  </a:lnTo>
                  <a:lnTo>
                    <a:pt x="728" y="336"/>
                  </a:lnTo>
                  <a:lnTo>
                    <a:pt x="680" y="344"/>
                  </a:lnTo>
                  <a:lnTo>
                    <a:pt x="640" y="368"/>
                  </a:lnTo>
                  <a:lnTo>
                    <a:pt x="672" y="344"/>
                  </a:lnTo>
                  <a:lnTo>
                    <a:pt x="696" y="336"/>
                  </a:lnTo>
                  <a:lnTo>
                    <a:pt x="704" y="336"/>
                  </a:lnTo>
                  <a:lnTo>
                    <a:pt x="712" y="320"/>
                  </a:lnTo>
                  <a:lnTo>
                    <a:pt x="744" y="320"/>
                  </a:lnTo>
                  <a:lnTo>
                    <a:pt x="792" y="320"/>
                  </a:lnTo>
                  <a:lnTo>
                    <a:pt x="816" y="304"/>
                  </a:lnTo>
                  <a:lnTo>
                    <a:pt x="856" y="296"/>
                  </a:lnTo>
                  <a:lnTo>
                    <a:pt x="856" y="280"/>
                  </a:lnTo>
                  <a:lnTo>
                    <a:pt x="856" y="272"/>
                  </a:lnTo>
                  <a:lnTo>
                    <a:pt x="848" y="272"/>
                  </a:lnTo>
                  <a:lnTo>
                    <a:pt x="848" y="264"/>
                  </a:lnTo>
                  <a:lnTo>
                    <a:pt x="832" y="264"/>
                  </a:lnTo>
                  <a:lnTo>
                    <a:pt x="848" y="256"/>
                  </a:lnTo>
                  <a:lnTo>
                    <a:pt x="832" y="256"/>
                  </a:lnTo>
                  <a:lnTo>
                    <a:pt x="832" y="248"/>
                  </a:lnTo>
                  <a:lnTo>
                    <a:pt x="816" y="248"/>
                  </a:lnTo>
                  <a:lnTo>
                    <a:pt x="824" y="240"/>
                  </a:lnTo>
                  <a:lnTo>
                    <a:pt x="808" y="232"/>
                  </a:lnTo>
                  <a:lnTo>
                    <a:pt x="824" y="224"/>
                  </a:lnTo>
                  <a:lnTo>
                    <a:pt x="808" y="176"/>
                  </a:lnTo>
                  <a:lnTo>
                    <a:pt x="792" y="184"/>
                  </a:lnTo>
                  <a:lnTo>
                    <a:pt x="792" y="192"/>
                  </a:lnTo>
                  <a:lnTo>
                    <a:pt x="760" y="208"/>
                  </a:lnTo>
                  <a:lnTo>
                    <a:pt x="752" y="192"/>
                  </a:lnTo>
                  <a:lnTo>
                    <a:pt x="760" y="168"/>
                  </a:lnTo>
                  <a:lnTo>
                    <a:pt x="744" y="168"/>
                  </a:lnTo>
                  <a:lnTo>
                    <a:pt x="744" y="160"/>
                  </a:lnTo>
                  <a:lnTo>
                    <a:pt x="728" y="152"/>
                  </a:lnTo>
                  <a:lnTo>
                    <a:pt x="696" y="144"/>
                  </a:lnTo>
                  <a:lnTo>
                    <a:pt x="680" y="152"/>
                  </a:lnTo>
                  <a:lnTo>
                    <a:pt x="680" y="160"/>
                  </a:lnTo>
                  <a:lnTo>
                    <a:pt x="672" y="168"/>
                  </a:lnTo>
                  <a:lnTo>
                    <a:pt x="672" y="176"/>
                  </a:lnTo>
                  <a:lnTo>
                    <a:pt x="664" y="184"/>
                  </a:lnTo>
                  <a:lnTo>
                    <a:pt x="648" y="200"/>
                  </a:lnTo>
                  <a:lnTo>
                    <a:pt x="656" y="208"/>
                  </a:lnTo>
                  <a:lnTo>
                    <a:pt x="640" y="240"/>
                  </a:lnTo>
                  <a:lnTo>
                    <a:pt x="600" y="256"/>
                  </a:lnTo>
                  <a:lnTo>
                    <a:pt x="592" y="296"/>
                  </a:lnTo>
                  <a:lnTo>
                    <a:pt x="568" y="304"/>
                  </a:lnTo>
                  <a:lnTo>
                    <a:pt x="568" y="312"/>
                  </a:lnTo>
                  <a:lnTo>
                    <a:pt x="552" y="280"/>
                  </a:lnTo>
                  <a:lnTo>
                    <a:pt x="576" y="256"/>
                  </a:lnTo>
                  <a:lnTo>
                    <a:pt x="544" y="248"/>
                  </a:lnTo>
                  <a:lnTo>
                    <a:pt x="496" y="224"/>
                  </a:lnTo>
                  <a:lnTo>
                    <a:pt x="480" y="224"/>
                  </a:lnTo>
                  <a:lnTo>
                    <a:pt x="488" y="200"/>
                  </a:lnTo>
                  <a:lnTo>
                    <a:pt x="472" y="200"/>
                  </a:lnTo>
                  <a:lnTo>
                    <a:pt x="472" y="192"/>
                  </a:lnTo>
                  <a:lnTo>
                    <a:pt x="504" y="168"/>
                  </a:lnTo>
                  <a:lnTo>
                    <a:pt x="528" y="152"/>
                  </a:lnTo>
                  <a:lnTo>
                    <a:pt x="536" y="144"/>
                  </a:lnTo>
                  <a:lnTo>
                    <a:pt x="560" y="144"/>
                  </a:lnTo>
                  <a:lnTo>
                    <a:pt x="576" y="128"/>
                  </a:lnTo>
                  <a:lnTo>
                    <a:pt x="592" y="128"/>
                  </a:lnTo>
                  <a:lnTo>
                    <a:pt x="616" y="112"/>
                  </a:lnTo>
                  <a:lnTo>
                    <a:pt x="640" y="96"/>
                  </a:lnTo>
                  <a:lnTo>
                    <a:pt x="648" y="96"/>
                  </a:lnTo>
                  <a:lnTo>
                    <a:pt x="664" y="96"/>
                  </a:lnTo>
                  <a:lnTo>
                    <a:pt x="696" y="88"/>
                  </a:lnTo>
                  <a:lnTo>
                    <a:pt x="704" y="80"/>
                  </a:lnTo>
                  <a:lnTo>
                    <a:pt x="696" y="80"/>
                  </a:lnTo>
                  <a:lnTo>
                    <a:pt x="720" y="56"/>
                  </a:lnTo>
                  <a:lnTo>
                    <a:pt x="704" y="56"/>
                  </a:lnTo>
                  <a:lnTo>
                    <a:pt x="712" y="56"/>
                  </a:lnTo>
                  <a:lnTo>
                    <a:pt x="688" y="48"/>
                  </a:lnTo>
                  <a:lnTo>
                    <a:pt x="672" y="72"/>
                  </a:lnTo>
                  <a:lnTo>
                    <a:pt x="640" y="88"/>
                  </a:lnTo>
                  <a:lnTo>
                    <a:pt x="640" y="80"/>
                  </a:lnTo>
                  <a:lnTo>
                    <a:pt x="648" y="64"/>
                  </a:lnTo>
                  <a:lnTo>
                    <a:pt x="648" y="56"/>
                  </a:lnTo>
                  <a:lnTo>
                    <a:pt x="632" y="64"/>
                  </a:lnTo>
                  <a:lnTo>
                    <a:pt x="624" y="56"/>
                  </a:lnTo>
                  <a:lnTo>
                    <a:pt x="616" y="48"/>
                  </a:lnTo>
                  <a:lnTo>
                    <a:pt x="632" y="48"/>
                  </a:lnTo>
                  <a:lnTo>
                    <a:pt x="624" y="24"/>
                  </a:lnTo>
                  <a:lnTo>
                    <a:pt x="640" y="24"/>
                  </a:lnTo>
                  <a:lnTo>
                    <a:pt x="640" y="16"/>
                  </a:lnTo>
                  <a:lnTo>
                    <a:pt x="656" y="16"/>
                  </a:lnTo>
                  <a:lnTo>
                    <a:pt x="688" y="0"/>
                  </a:lnTo>
                  <a:lnTo>
                    <a:pt x="664" y="0"/>
                  </a:lnTo>
                  <a:lnTo>
                    <a:pt x="640" y="8"/>
                  </a:lnTo>
                  <a:lnTo>
                    <a:pt x="616" y="24"/>
                  </a:lnTo>
                  <a:lnTo>
                    <a:pt x="584" y="40"/>
                  </a:lnTo>
                  <a:lnTo>
                    <a:pt x="584" y="48"/>
                  </a:lnTo>
                  <a:lnTo>
                    <a:pt x="600" y="56"/>
                  </a:lnTo>
                  <a:lnTo>
                    <a:pt x="584" y="64"/>
                  </a:lnTo>
                  <a:lnTo>
                    <a:pt x="560" y="80"/>
                  </a:lnTo>
                  <a:lnTo>
                    <a:pt x="552" y="80"/>
                  </a:lnTo>
                  <a:lnTo>
                    <a:pt x="560" y="72"/>
                  </a:lnTo>
                  <a:lnTo>
                    <a:pt x="576" y="64"/>
                  </a:lnTo>
                  <a:lnTo>
                    <a:pt x="576" y="56"/>
                  </a:lnTo>
                  <a:lnTo>
                    <a:pt x="568" y="48"/>
                  </a:lnTo>
                  <a:lnTo>
                    <a:pt x="536" y="64"/>
                  </a:lnTo>
                  <a:lnTo>
                    <a:pt x="552" y="64"/>
                  </a:lnTo>
                  <a:lnTo>
                    <a:pt x="528" y="80"/>
                  </a:lnTo>
                  <a:lnTo>
                    <a:pt x="504" y="80"/>
                  </a:lnTo>
                  <a:lnTo>
                    <a:pt x="480" y="72"/>
                  </a:lnTo>
                  <a:lnTo>
                    <a:pt x="480" y="64"/>
                  </a:lnTo>
                  <a:lnTo>
                    <a:pt x="440" y="72"/>
                  </a:lnTo>
                  <a:lnTo>
                    <a:pt x="448" y="72"/>
                  </a:lnTo>
                  <a:lnTo>
                    <a:pt x="440" y="80"/>
                  </a:lnTo>
                  <a:lnTo>
                    <a:pt x="424" y="72"/>
                  </a:lnTo>
                  <a:lnTo>
                    <a:pt x="392" y="80"/>
                  </a:lnTo>
                  <a:lnTo>
                    <a:pt x="368" y="80"/>
                  </a:lnTo>
                  <a:lnTo>
                    <a:pt x="392" y="72"/>
                  </a:lnTo>
                  <a:lnTo>
                    <a:pt x="392" y="64"/>
                  </a:lnTo>
                  <a:lnTo>
                    <a:pt x="352" y="56"/>
                  </a:lnTo>
                  <a:lnTo>
                    <a:pt x="344" y="48"/>
                  </a:lnTo>
                  <a:lnTo>
                    <a:pt x="328" y="48"/>
                  </a:lnTo>
                  <a:lnTo>
                    <a:pt x="312" y="56"/>
                  </a:lnTo>
                  <a:lnTo>
                    <a:pt x="304" y="56"/>
                  </a:lnTo>
                  <a:lnTo>
                    <a:pt x="312" y="48"/>
                  </a:lnTo>
                  <a:lnTo>
                    <a:pt x="296" y="56"/>
                  </a:lnTo>
                  <a:lnTo>
                    <a:pt x="288" y="56"/>
                  </a:lnTo>
                  <a:lnTo>
                    <a:pt x="296" y="48"/>
                  </a:lnTo>
                  <a:lnTo>
                    <a:pt x="288" y="40"/>
                  </a:lnTo>
                  <a:lnTo>
                    <a:pt x="264" y="48"/>
                  </a:lnTo>
                  <a:lnTo>
                    <a:pt x="216" y="56"/>
                  </a:lnTo>
                  <a:lnTo>
                    <a:pt x="200" y="56"/>
                  </a:lnTo>
                  <a:lnTo>
                    <a:pt x="184" y="64"/>
                  </a:lnTo>
                  <a:lnTo>
                    <a:pt x="152" y="56"/>
                  </a:lnTo>
                  <a:lnTo>
                    <a:pt x="0" y="176"/>
                  </a:lnTo>
                  <a:lnTo>
                    <a:pt x="16" y="176"/>
                  </a:lnTo>
                  <a:lnTo>
                    <a:pt x="8" y="184"/>
                  </a:lnTo>
                  <a:lnTo>
                    <a:pt x="16" y="192"/>
                  </a:lnTo>
                  <a:lnTo>
                    <a:pt x="48" y="184"/>
                  </a:lnTo>
                  <a:lnTo>
                    <a:pt x="48" y="200"/>
                  </a:lnTo>
                  <a:lnTo>
                    <a:pt x="40" y="232"/>
                  </a:lnTo>
                  <a:lnTo>
                    <a:pt x="48" y="240"/>
                  </a:lnTo>
                  <a:lnTo>
                    <a:pt x="40" y="256"/>
                  </a:lnTo>
                  <a:lnTo>
                    <a:pt x="16" y="264"/>
                  </a:lnTo>
                  <a:lnTo>
                    <a:pt x="16" y="288"/>
                  </a:lnTo>
                  <a:lnTo>
                    <a:pt x="24" y="288"/>
                  </a:lnTo>
                  <a:lnTo>
                    <a:pt x="16" y="304"/>
                  </a:lnTo>
                  <a:lnTo>
                    <a:pt x="32" y="320"/>
                  </a:lnTo>
                  <a:lnTo>
                    <a:pt x="48" y="336"/>
                  </a:lnTo>
                  <a:lnTo>
                    <a:pt x="368" y="336"/>
                  </a:lnTo>
                  <a:lnTo>
                    <a:pt x="376" y="336"/>
                  </a:lnTo>
                  <a:lnTo>
                    <a:pt x="384" y="344"/>
                  </a:lnTo>
                  <a:lnTo>
                    <a:pt x="432" y="352"/>
                  </a:lnTo>
                  <a:lnTo>
                    <a:pt x="424" y="352"/>
                  </a:lnTo>
                  <a:lnTo>
                    <a:pt x="456" y="336"/>
                  </a:lnTo>
                  <a:lnTo>
                    <a:pt x="472" y="344"/>
                  </a:lnTo>
                  <a:lnTo>
                    <a:pt x="472" y="352"/>
                  </a:lnTo>
                  <a:lnTo>
                    <a:pt x="488" y="352"/>
                  </a:lnTo>
                  <a:lnTo>
                    <a:pt x="480" y="376"/>
                  </a:lnTo>
                  <a:lnTo>
                    <a:pt x="520" y="384"/>
                  </a:lnTo>
                  <a:lnTo>
                    <a:pt x="528" y="400"/>
                  </a:lnTo>
                  <a:lnTo>
                    <a:pt x="520" y="408"/>
                  </a:lnTo>
                  <a:lnTo>
                    <a:pt x="504" y="392"/>
                  </a:lnTo>
                  <a:lnTo>
                    <a:pt x="488" y="424"/>
                  </a:lnTo>
                  <a:lnTo>
                    <a:pt x="480" y="424"/>
                  </a:lnTo>
                  <a:lnTo>
                    <a:pt x="464" y="448"/>
                  </a:lnTo>
                  <a:lnTo>
                    <a:pt x="488" y="432"/>
                  </a:lnTo>
                  <a:lnTo>
                    <a:pt x="528" y="432"/>
                  </a:lnTo>
                  <a:lnTo>
                    <a:pt x="520" y="424"/>
                  </a:lnTo>
                  <a:lnTo>
                    <a:pt x="512" y="424"/>
                  </a:lnTo>
                  <a:lnTo>
                    <a:pt x="520" y="416"/>
                  </a:lnTo>
                  <a:lnTo>
                    <a:pt x="552" y="416"/>
                  </a:lnTo>
                  <a:lnTo>
                    <a:pt x="568" y="408"/>
                  </a:lnTo>
                  <a:lnTo>
                    <a:pt x="584" y="400"/>
                  </a:lnTo>
                  <a:lnTo>
                    <a:pt x="624" y="400"/>
                  </a:lnTo>
                  <a:lnTo>
                    <a:pt x="640" y="392"/>
                  </a:lnTo>
                  <a:lnTo>
                    <a:pt x="664" y="360"/>
                  </a:lnTo>
                  <a:lnTo>
                    <a:pt x="680" y="368"/>
                  </a:lnTo>
                  <a:lnTo>
                    <a:pt x="672" y="392"/>
                  </a:lnTo>
                  <a:lnTo>
                    <a:pt x="680" y="39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2" name="Freeform 122">
              <a:extLst>
                <a:ext uri="{FF2B5EF4-FFF2-40B4-BE49-F238E27FC236}">
                  <a16:creationId xmlns:a16="http://schemas.microsoft.com/office/drawing/2014/main" id="{A18C5B81-A75D-4FF2-CF9A-6A3A247424A2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820738" y="2760663"/>
              <a:ext cx="1106488" cy="428625"/>
            </a:xfrm>
            <a:custGeom>
              <a:avLst/>
              <a:gdLst>
                <a:gd name="T0" fmla="*/ 812577 w 512"/>
                <a:gd name="T1" fmla="*/ 266043 h 232"/>
                <a:gd name="T2" fmla="*/ 812577 w 512"/>
                <a:gd name="T3" fmla="*/ 295603 h 232"/>
                <a:gd name="T4" fmla="*/ 881732 w 512"/>
                <a:gd name="T5" fmla="*/ 310384 h 232"/>
                <a:gd name="T6" fmla="*/ 881732 w 512"/>
                <a:gd name="T7" fmla="*/ 384284 h 232"/>
                <a:gd name="T8" fmla="*/ 847155 w 512"/>
                <a:gd name="T9" fmla="*/ 413845 h 232"/>
                <a:gd name="T10" fmla="*/ 829866 w 512"/>
                <a:gd name="T11" fmla="*/ 384284 h 232"/>
                <a:gd name="T12" fmla="*/ 829866 w 512"/>
                <a:gd name="T13" fmla="*/ 369504 h 232"/>
                <a:gd name="T14" fmla="*/ 812577 w 512"/>
                <a:gd name="T15" fmla="*/ 413845 h 232"/>
                <a:gd name="T16" fmla="*/ 812577 w 512"/>
                <a:gd name="T17" fmla="*/ 369504 h 232"/>
                <a:gd name="T18" fmla="*/ 812577 w 512"/>
                <a:gd name="T19" fmla="*/ 354724 h 232"/>
                <a:gd name="T20" fmla="*/ 847155 w 512"/>
                <a:gd name="T21" fmla="*/ 354724 h 232"/>
                <a:gd name="T22" fmla="*/ 812577 w 512"/>
                <a:gd name="T23" fmla="*/ 354724 h 232"/>
                <a:gd name="T24" fmla="*/ 829866 w 512"/>
                <a:gd name="T25" fmla="*/ 325164 h 232"/>
                <a:gd name="T26" fmla="*/ 812577 w 512"/>
                <a:gd name="T27" fmla="*/ 325164 h 232"/>
                <a:gd name="T28" fmla="*/ 795288 w 512"/>
                <a:gd name="T29" fmla="*/ 280823 h 232"/>
                <a:gd name="T30" fmla="*/ 691555 w 512"/>
                <a:gd name="T31" fmla="*/ 280823 h 232"/>
                <a:gd name="T32" fmla="*/ 622399 w 512"/>
                <a:gd name="T33" fmla="*/ 251263 h 232"/>
                <a:gd name="T34" fmla="*/ 484088 w 512"/>
                <a:gd name="T35" fmla="*/ 295603 h 232"/>
                <a:gd name="T36" fmla="*/ 605111 w 512"/>
                <a:gd name="T37" fmla="*/ 251263 h 232"/>
                <a:gd name="T38" fmla="*/ 449511 w 512"/>
                <a:gd name="T39" fmla="*/ 295603 h 232"/>
                <a:gd name="T40" fmla="*/ 432222 w 512"/>
                <a:gd name="T41" fmla="*/ 310384 h 232"/>
                <a:gd name="T42" fmla="*/ 293911 w 512"/>
                <a:gd name="T43" fmla="*/ 354724 h 232"/>
                <a:gd name="T44" fmla="*/ 0 w 512"/>
                <a:gd name="T45" fmla="*/ 428625 h 232"/>
                <a:gd name="T46" fmla="*/ 328489 w 512"/>
                <a:gd name="T47" fmla="*/ 310384 h 232"/>
                <a:gd name="T48" fmla="*/ 242044 w 512"/>
                <a:gd name="T49" fmla="*/ 310384 h 232"/>
                <a:gd name="T50" fmla="*/ 224755 w 512"/>
                <a:gd name="T51" fmla="*/ 280823 h 232"/>
                <a:gd name="T52" fmla="*/ 328489 w 512"/>
                <a:gd name="T53" fmla="*/ 206922 h 232"/>
                <a:gd name="T54" fmla="*/ 484088 w 512"/>
                <a:gd name="T55" fmla="*/ 147802 h 232"/>
                <a:gd name="T56" fmla="*/ 380355 w 512"/>
                <a:gd name="T57" fmla="*/ 162582 h 232"/>
                <a:gd name="T58" fmla="*/ 380355 w 512"/>
                <a:gd name="T59" fmla="*/ 147802 h 232"/>
                <a:gd name="T60" fmla="*/ 466800 w 512"/>
                <a:gd name="T61" fmla="*/ 118241 h 232"/>
                <a:gd name="T62" fmla="*/ 466800 w 512"/>
                <a:gd name="T63" fmla="*/ 118241 h 232"/>
                <a:gd name="T64" fmla="*/ 518666 w 512"/>
                <a:gd name="T65" fmla="*/ 103461 h 232"/>
                <a:gd name="T66" fmla="*/ 518666 w 512"/>
                <a:gd name="T67" fmla="*/ 73901 h 232"/>
                <a:gd name="T68" fmla="*/ 605111 w 512"/>
                <a:gd name="T69" fmla="*/ 59121 h 232"/>
                <a:gd name="T70" fmla="*/ 847155 w 512"/>
                <a:gd name="T71" fmla="*/ 0 h 232"/>
                <a:gd name="T72" fmla="*/ 864444 w 512"/>
                <a:gd name="T73" fmla="*/ 14780 h 232"/>
                <a:gd name="T74" fmla="*/ 916310 w 512"/>
                <a:gd name="T75" fmla="*/ 14780 h 232"/>
                <a:gd name="T76" fmla="*/ 1106488 w 512"/>
                <a:gd name="T77" fmla="*/ 44341 h 23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12"/>
                <a:gd name="T118" fmla="*/ 0 h 232"/>
                <a:gd name="T119" fmla="*/ 512 w 512"/>
                <a:gd name="T120" fmla="*/ 232 h 23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12" h="232">
                  <a:moveTo>
                    <a:pt x="360" y="144"/>
                  </a:moveTo>
                  <a:lnTo>
                    <a:pt x="376" y="144"/>
                  </a:lnTo>
                  <a:lnTo>
                    <a:pt x="368" y="152"/>
                  </a:lnTo>
                  <a:lnTo>
                    <a:pt x="376" y="160"/>
                  </a:lnTo>
                  <a:lnTo>
                    <a:pt x="408" y="152"/>
                  </a:lnTo>
                  <a:lnTo>
                    <a:pt x="408" y="168"/>
                  </a:lnTo>
                  <a:lnTo>
                    <a:pt x="400" y="200"/>
                  </a:lnTo>
                  <a:lnTo>
                    <a:pt x="408" y="208"/>
                  </a:lnTo>
                  <a:lnTo>
                    <a:pt x="400" y="224"/>
                  </a:lnTo>
                  <a:lnTo>
                    <a:pt x="392" y="224"/>
                  </a:lnTo>
                  <a:lnTo>
                    <a:pt x="384" y="224"/>
                  </a:lnTo>
                  <a:lnTo>
                    <a:pt x="384" y="208"/>
                  </a:lnTo>
                  <a:lnTo>
                    <a:pt x="392" y="208"/>
                  </a:lnTo>
                  <a:lnTo>
                    <a:pt x="384" y="200"/>
                  </a:lnTo>
                  <a:lnTo>
                    <a:pt x="384" y="216"/>
                  </a:lnTo>
                  <a:lnTo>
                    <a:pt x="376" y="224"/>
                  </a:lnTo>
                  <a:lnTo>
                    <a:pt x="368" y="216"/>
                  </a:lnTo>
                  <a:lnTo>
                    <a:pt x="376" y="200"/>
                  </a:lnTo>
                  <a:lnTo>
                    <a:pt x="368" y="200"/>
                  </a:lnTo>
                  <a:lnTo>
                    <a:pt x="376" y="192"/>
                  </a:lnTo>
                  <a:lnTo>
                    <a:pt x="384" y="192"/>
                  </a:lnTo>
                  <a:lnTo>
                    <a:pt x="392" y="192"/>
                  </a:lnTo>
                  <a:lnTo>
                    <a:pt x="392" y="184"/>
                  </a:lnTo>
                  <a:lnTo>
                    <a:pt x="376" y="192"/>
                  </a:lnTo>
                  <a:lnTo>
                    <a:pt x="392" y="168"/>
                  </a:lnTo>
                  <a:lnTo>
                    <a:pt x="384" y="176"/>
                  </a:lnTo>
                  <a:lnTo>
                    <a:pt x="360" y="200"/>
                  </a:lnTo>
                  <a:lnTo>
                    <a:pt x="376" y="176"/>
                  </a:lnTo>
                  <a:lnTo>
                    <a:pt x="360" y="160"/>
                  </a:lnTo>
                  <a:lnTo>
                    <a:pt x="368" y="152"/>
                  </a:lnTo>
                  <a:lnTo>
                    <a:pt x="352" y="152"/>
                  </a:lnTo>
                  <a:lnTo>
                    <a:pt x="320" y="152"/>
                  </a:lnTo>
                  <a:lnTo>
                    <a:pt x="304" y="136"/>
                  </a:lnTo>
                  <a:lnTo>
                    <a:pt x="288" y="136"/>
                  </a:lnTo>
                  <a:lnTo>
                    <a:pt x="264" y="152"/>
                  </a:lnTo>
                  <a:lnTo>
                    <a:pt x="224" y="160"/>
                  </a:lnTo>
                  <a:lnTo>
                    <a:pt x="256" y="136"/>
                  </a:lnTo>
                  <a:lnTo>
                    <a:pt x="280" y="136"/>
                  </a:lnTo>
                  <a:lnTo>
                    <a:pt x="272" y="136"/>
                  </a:lnTo>
                  <a:lnTo>
                    <a:pt x="208" y="160"/>
                  </a:lnTo>
                  <a:lnTo>
                    <a:pt x="200" y="160"/>
                  </a:lnTo>
                  <a:lnTo>
                    <a:pt x="200" y="168"/>
                  </a:lnTo>
                  <a:lnTo>
                    <a:pt x="192" y="168"/>
                  </a:lnTo>
                  <a:lnTo>
                    <a:pt x="136" y="192"/>
                  </a:lnTo>
                  <a:lnTo>
                    <a:pt x="96" y="208"/>
                  </a:lnTo>
                  <a:lnTo>
                    <a:pt x="0" y="232"/>
                  </a:lnTo>
                  <a:lnTo>
                    <a:pt x="136" y="184"/>
                  </a:lnTo>
                  <a:lnTo>
                    <a:pt x="152" y="168"/>
                  </a:lnTo>
                  <a:lnTo>
                    <a:pt x="136" y="168"/>
                  </a:lnTo>
                  <a:lnTo>
                    <a:pt x="112" y="168"/>
                  </a:lnTo>
                  <a:lnTo>
                    <a:pt x="128" y="152"/>
                  </a:lnTo>
                  <a:lnTo>
                    <a:pt x="104" y="152"/>
                  </a:lnTo>
                  <a:lnTo>
                    <a:pt x="112" y="128"/>
                  </a:lnTo>
                  <a:lnTo>
                    <a:pt x="152" y="112"/>
                  </a:lnTo>
                  <a:lnTo>
                    <a:pt x="200" y="104"/>
                  </a:lnTo>
                  <a:lnTo>
                    <a:pt x="224" y="80"/>
                  </a:lnTo>
                  <a:lnTo>
                    <a:pt x="200" y="88"/>
                  </a:lnTo>
                  <a:lnTo>
                    <a:pt x="176" y="88"/>
                  </a:lnTo>
                  <a:lnTo>
                    <a:pt x="168" y="88"/>
                  </a:lnTo>
                  <a:lnTo>
                    <a:pt x="176" y="80"/>
                  </a:lnTo>
                  <a:lnTo>
                    <a:pt x="168" y="72"/>
                  </a:lnTo>
                  <a:lnTo>
                    <a:pt x="216" y="64"/>
                  </a:lnTo>
                  <a:lnTo>
                    <a:pt x="224" y="64"/>
                  </a:lnTo>
                  <a:lnTo>
                    <a:pt x="216" y="64"/>
                  </a:lnTo>
                  <a:lnTo>
                    <a:pt x="248" y="64"/>
                  </a:lnTo>
                  <a:lnTo>
                    <a:pt x="240" y="56"/>
                  </a:lnTo>
                  <a:lnTo>
                    <a:pt x="248" y="48"/>
                  </a:lnTo>
                  <a:lnTo>
                    <a:pt x="240" y="40"/>
                  </a:lnTo>
                  <a:lnTo>
                    <a:pt x="248" y="32"/>
                  </a:lnTo>
                  <a:lnTo>
                    <a:pt x="280" y="32"/>
                  </a:lnTo>
                  <a:lnTo>
                    <a:pt x="320" y="16"/>
                  </a:lnTo>
                  <a:lnTo>
                    <a:pt x="392" y="0"/>
                  </a:lnTo>
                  <a:lnTo>
                    <a:pt x="400" y="0"/>
                  </a:lnTo>
                  <a:lnTo>
                    <a:pt x="400" y="8"/>
                  </a:lnTo>
                  <a:lnTo>
                    <a:pt x="416" y="8"/>
                  </a:lnTo>
                  <a:lnTo>
                    <a:pt x="424" y="8"/>
                  </a:lnTo>
                  <a:lnTo>
                    <a:pt x="496" y="16"/>
                  </a:lnTo>
                  <a:lnTo>
                    <a:pt x="512" y="24"/>
                  </a:lnTo>
                  <a:lnTo>
                    <a:pt x="360" y="144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3" name="Freeform 123">
              <a:extLst>
                <a:ext uri="{FF2B5EF4-FFF2-40B4-BE49-F238E27FC236}">
                  <a16:creationId xmlns:a16="http://schemas.microsoft.com/office/drawing/2014/main" id="{34FF3DB6-BD21-9880-9601-FD1BFEA6B51E}"/>
                </a:ext>
              </a:extLst>
            </p:cNvPr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1563688" y="3778251"/>
              <a:ext cx="762000" cy="501650"/>
            </a:xfrm>
            <a:custGeom>
              <a:avLst/>
              <a:gdLst>
                <a:gd name="T0" fmla="*/ 0 w 352"/>
                <a:gd name="T1" fmla="*/ 88526 h 272"/>
                <a:gd name="T2" fmla="*/ 17318 w 352"/>
                <a:gd name="T3" fmla="*/ 132790 h 272"/>
                <a:gd name="T4" fmla="*/ 17318 w 352"/>
                <a:gd name="T5" fmla="*/ 147544 h 272"/>
                <a:gd name="T6" fmla="*/ 69273 w 352"/>
                <a:gd name="T7" fmla="*/ 191807 h 272"/>
                <a:gd name="T8" fmla="*/ 103909 w 352"/>
                <a:gd name="T9" fmla="*/ 250825 h 272"/>
                <a:gd name="T10" fmla="*/ 121227 w 352"/>
                <a:gd name="T11" fmla="*/ 265579 h 272"/>
                <a:gd name="T12" fmla="*/ 86591 w 352"/>
                <a:gd name="T13" fmla="*/ 177053 h 272"/>
                <a:gd name="T14" fmla="*/ 51955 w 352"/>
                <a:gd name="T15" fmla="*/ 29509 h 272"/>
                <a:gd name="T16" fmla="*/ 86591 w 352"/>
                <a:gd name="T17" fmla="*/ 44263 h 272"/>
                <a:gd name="T18" fmla="*/ 121227 w 352"/>
                <a:gd name="T19" fmla="*/ 132790 h 272"/>
                <a:gd name="T20" fmla="*/ 155864 w 352"/>
                <a:gd name="T21" fmla="*/ 177053 h 272"/>
                <a:gd name="T22" fmla="*/ 173182 w 352"/>
                <a:gd name="T23" fmla="*/ 206562 h 272"/>
                <a:gd name="T24" fmla="*/ 242455 w 352"/>
                <a:gd name="T25" fmla="*/ 309843 h 272"/>
                <a:gd name="T26" fmla="*/ 225136 w 352"/>
                <a:gd name="T27" fmla="*/ 354106 h 272"/>
                <a:gd name="T28" fmla="*/ 311727 w 352"/>
                <a:gd name="T29" fmla="*/ 413123 h 272"/>
                <a:gd name="T30" fmla="*/ 415636 w 352"/>
                <a:gd name="T31" fmla="*/ 457387 h 272"/>
                <a:gd name="T32" fmla="*/ 484909 w 352"/>
                <a:gd name="T33" fmla="*/ 457387 h 272"/>
                <a:gd name="T34" fmla="*/ 571500 w 352"/>
                <a:gd name="T35" fmla="*/ 501650 h 272"/>
                <a:gd name="T36" fmla="*/ 623455 w 352"/>
                <a:gd name="T37" fmla="*/ 457387 h 272"/>
                <a:gd name="T38" fmla="*/ 623455 w 352"/>
                <a:gd name="T39" fmla="*/ 413123 h 272"/>
                <a:gd name="T40" fmla="*/ 692727 w 352"/>
                <a:gd name="T41" fmla="*/ 398369 h 272"/>
                <a:gd name="T42" fmla="*/ 710045 w 352"/>
                <a:gd name="T43" fmla="*/ 398369 h 272"/>
                <a:gd name="T44" fmla="*/ 727364 w 352"/>
                <a:gd name="T45" fmla="*/ 309843 h 272"/>
                <a:gd name="T46" fmla="*/ 640773 w 352"/>
                <a:gd name="T47" fmla="*/ 368860 h 272"/>
                <a:gd name="T48" fmla="*/ 623455 w 352"/>
                <a:gd name="T49" fmla="*/ 398369 h 272"/>
                <a:gd name="T50" fmla="*/ 588818 w 352"/>
                <a:gd name="T51" fmla="*/ 398369 h 272"/>
                <a:gd name="T52" fmla="*/ 484909 w 352"/>
                <a:gd name="T53" fmla="*/ 368860 h 272"/>
                <a:gd name="T54" fmla="*/ 467591 w 352"/>
                <a:gd name="T55" fmla="*/ 236071 h 272"/>
                <a:gd name="T56" fmla="*/ 432955 w 352"/>
                <a:gd name="T57" fmla="*/ 177053 h 272"/>
                <a:gd name="T58" fmla="*/ 363682 w 352"/>
                <a:gd name="T59" fmla="*/ 73772 h 272"/>
                <a:gd name="T60" fmla="*/ 329045 w 352"/>
                <a:gd name="T61" fmla="*/ 103281 h 272"/>
                <a:gd name="T62" fmla="*/ 311727 w 352"/>
                <a:gd name="T63" fmla="*/ 59018 h 272"/>
                <a:gd name="T64" fmla="*/ 155864 w 352"/>
                <a:gd name="T65" fmla="*/ 44263 h 272"/>
                <a:gd name="T66" fmla="*/ 0 w 352"/>
                <a:gd name="T67" fmla="*/ 0 h 27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52"/>
                <a:gd name="T103" fmla="*/ 0 h 272"/>
                <a:gd name="T104" fmla="*/ 352 w 352"/>
                <a:gd name="T105" fmla="*/ 272 h 27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52" h="272">
                  <a:moveTo>
                    <a:pt x="0" y="0"/>
                  </a:moveTo>
                  <a:lnTo>
                    <a:pt x="0" y="48"/>
                  </a:lnTo>
                  <a:lnTo>
                    <a:pt x="16" y="64"/>
                  </a:lnTo>
                  <a:lnTo>
                    <a:pt x="8" y="72"/>
                  </a:lnTo>
                  <a:lnTo>
                    <a:pt x="0" y="72"/>
                  </a:lnTo>
                  <a:lnTo>
                    <a:pt x="8" y="80"/>
                  </a:lnTo>
                  <a:lnTo>
                    <a:pt x="32" y="96"/>
                  </a:lnTo>
                  <a:lnTo>
                    <a:pt x="32" y="104"/>
                  </a:lnTo>
                  <a:lnTo>
                    <a:pt x="24" y="120"/>
                  </a:lnTo>
                  <a:lnTo>
                    <a:pt x="48" y="136"/>
                  </a:lnTo>
                  <a:lnTo>
                    <a:pt x="48" y="152"/>
                  </a:lnTo>
                  <a:lnTo>
                    <a:pt x="56" y="144"/>
                  </a:lnTo>
                  <a:lnTo>
                    <a:pt x="48" y="128"/>
                  </a:lnTo>
                  <a:lnTo>
                    <a:pt x="40" y="96"/>
                  </a:lnTo>
                  <a:lnTo>
                    <a:pt x="16" y="40"/>
                  </a:lnTo>
                  <a:lnTo>
                    <a:pt x="24" y="16"/>
                  </a:lnTo>
                  <a:lnTo>
                    <a:pt x="40" y="16"/>
                  </a:lnTo>
                  <a:lnTo>
                    <a:pt x="40" y="24"/>
                  </a:lnTo>
                  <a:lnTo>
                    <a:pt x="48" y="56"/>
                  </a:lnTo>
                  <a:lnTo>
                    <a:pt x="56" y="72"/>
                  </a:lnTo>
                  <a:lnTo>
                    <a:pt x="56" y="80"/>
                  </a:lnTo>
                  <a:lnTo>
                    <a:pt x="72" y="96"/>
                  </a:lnTo>
                  <a:lnTo>
                    <a:pt x="64" y="104"/>
                  </a:lnTo>
                  <a:lnTo>
                    <a:pt x="80" y="112"/>
                  </a:lnTo>
                  <a:lnTo>
                    <a:pt x="104" y="152"/>
                  </a:lnTo>
                  <a:lnTo>
                    <a:pt x="112" y="168"/>
                  </a:lnTo>
                  <a:lnTo>
                    <a:pt x="96" y="184"/>
                  </a:lnTo>
                  <a:lnTo>
                    <a:pt x="104" y="192"/>
                  </a:lnTo>
                  <a:lnTo>
                    <a:pt x="120" y="216"/>
                  </a:lnTo>
                  <a:lnTo>
                    <a:pt x="144" y="224"/>
                  </a:lnTo>
                  <a:lnTo>
                    <a:pt x="152" y="232"/>
                  </a:lnTo>
                  <a:lnTo>
                    <a:pt x="192" y="248"/>
                  </a:lnTo>
                  <a:lnTo>
                    <a:pt x="208" y="256"/>
                  </a:lnTo>
                  <a:lnTo>
                    <a:pt x="224" y="248"/>
                  </a:lnTo>
                  <a:lnTo>
                    <a:pt x="240" y="248"/>
                  </a:lnTo>
                  <a:lnTo>
                    <a:pt x="264" y="272"/>
                  </a:lnTo>
                  <a:lnTo>
                    <a:pt x="280" y="248"/>
                  </a:lnTo>
                  <a:lnTo>
                    <a:pt x="288" y="248"/>
                  </a:lnTo>
                  <a:lnTo>
                    <a:pt x="280" y="232"/>
                  </a:lnTo>
                  <a:lnTo>
                    <a:pt x="288" y="224"/>
                  </a:lnTo>
                  <a:lnTo>
                    <a:pt x="312" y="224"/>
                  </a:lnTo>
                  <a:lnTo>
                    <a:pt x="320" y="216"/>
                  </a:lnTo>
                  <a:lnTo>
                    <a:pt x="328" y="224"/>
                  </a:lnTo>
                  <a:lnTo>
                    <a:pt x="328" y="216"/>
                  </a:lnTo>
                  <a:lnTo>
                    <a:pt x="352" y="168"/>
                  </a:lnTo>
                  <a:lnTo>
                    <a:pt x="336" y="168"/>
                  </a:lnTo>
                  <a:lnTo>
                    <a:pt x="304" y="176"/>
                  </a:lnTo>
                  <a:lnTo>
                    <a:pt x="296" y="200"/>
                  </a:lnTo>
                  <a:lnTo>
                    <a:pt x="280" y="208"/>
                  </a:lnTo>
                  <a:lnTo>
                    <a:pt x="288" y="216"/>
                  </a:lnTo>
                  <a:lnTo>
                    <a:pt x="280" y="216"/>
                  </a:lnTo>
                  <a:lnTo>
                    <a:pt x="272" y="216"/>
                  </a:lnTo>
                  <a:lnTo>
                    <a:pt x="240" y="216"/>
                  </a:lnTo>
                  <a:lnTo>
                    <a:pt x="224" y="200"/>
                  </a:lnTo>
                  <a:lnTo>
                    <a:pt x="208" y="152"/>
                  </a:lnTo>
                  <a:lnTo>
                    <a:pt x="216" y="128"/>
                  </a:lnTo>
                  <a:lnTo>
                    <a:pt x="224" y="104"/>
                  </a:lnTo>
                  <a:lnTo>
                    <a:pt x="200" y="96"/>
                  </a:lnTo>
                  <a:lnTo>
                    <a:pt x="184" y="48"/>
                  </a:lnTo>
                  <a:lnTo>
                    <a:pt x="168" y="40"/>
                  </a:lnTo>
                  <a:lnTo>
                    <a:pt x="160" y="56"/>
                  </a:lnTo>
                  <a:lnTo>
                    <a:pt x="152" y="56"/>
                  </a:lnTo>
                  <a:lnTo>
                    <a:pt x="144" y="40"/>
                  </a:lnTo>
                  <a:lnTo>
                    <a:pt x="144" y="32"/>
                  </a:lnTo>
                  <a:lnTo>
                    <a:pt x="136" y="16"/>
                  </a:lnTo>
                  <a:lnTo>
                    <a:pt x="72" y="24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4" name="Freeform 124">
              <a:extLst>
                <a:ext uri="{FF2B5EF4-FFF2-40B4-BE49-F238E27FC236}">
                  <a16:creationId xmlns:a16="http://schemas.microsoft.com/office/drawing/2014/main" id="{845C23DF-4751-D22F-48D7-D7D9263D6131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1477963" y="3321051"/>
              <a:ext cx="1590675" cy="663575"/>
            </a:xfrm>
            <a:custGeom>
              <a:avLst/>
              <a:gdLst>
                <a:gd name="T0" fmla="*/ 657018 w 736"/>
                <a:gd name="T1" fmla="*/ 545606 h 360"/>
                <a:gd name="T2" fmla="*/ 691598 w 736"/>
                <a:gd name="T3" fmla="*/ 545606 h 360"/>
                <a:gd name="T4" fmla="*/ 760758 w 736"/>
                <a:gd name="T5" fmla="*/ 560352 h 360"/>
                <a:gd name="T6" fmla="*/ 829917 w 736"/>
                <a:gd name="T7" fmla="*/ 560352 h 360"/>
                <a:gd name="T8" fmla="*/ 795338 w 736"/>
                <a:gd name="T9" fmla="*/ 530860 h 360"/>
                <a:gd name="T10" fmla="*/ 864497 w 736"/>
                <a:gd name="T11" fmla="*/ 516114 h 360"/>
                <a:gd name="T12" fmla="*/ 933657 w 736"/>
                <a:gd name="T13" fmla="*/ 545606 h 360"/>
                <a:gd name="T14" fmla="*/ 1002817 w 736"/>
                <a:gd name="T15" fmla="*/ 619337 h 360"/>
                <a:gd name="T16" fmla="*/ 1054687 w 736"/>
                <a:gd name="T17" fmla="*/ 648829 h 360"/>
                <a:gd name="T18" fmla="*/ 1089266 w 736"/>
                <a:gd name="T19" fmla="*/ 457129 h 360"/>
                <a:gd name="T20" fmla="*/ 1227586 w 736"/>
                <a:gd name="T21" fmla="*/ 368653 h 360"/>
                <a:gd name="T22" fmla="*/ 1244876 w 736"/>
                <a:gd name="T23" fmla="*/ 339161 h 360"/>
                <a:gd name="T24" fmla="*/ 1262166 w 736"/>
                <a:gd name="T25" fmla="*/ 309668 h 360"/>
                <a:gd name="T26" fmla="*/ 1279456 w 736"/>
                <a:gd name="T27" fmla="*/ 294922 h 360"/>
                <a:gd name="T28" fmla="*/ 1296746 w 736"/>
                <a:gd name="T29" fmla="*/ 294922 h 360"/>
                <a:gd name="T30" fmla="*/ 1331326 w 736"/>
                <a:gd name="T31" fmla="*/ 265430 h 360"/>
                <a:gd name="T32" fmla="*/ 1435066 w 736"/>
                <a:gd name="T33" fmla="*/ 206446 h 360"/>
                <a:gd name="T34" fmla="*/ 1452355 w 736"/>
                <a:gd name="T35" fmla="*/ 206446 h 360"/>
                <a:gd name="T36" fmla="*/ 1538805 w 736"/>
                <a:gd name="T37" fmla="*/ 132715 h 360"/>
                <a:gd name="T38" fmla="*/ 1573385 w 736"/>
                <a:gd name="T39" fmla="*/ 103223 h 360"/>
                <a:gd name="T40" fmla="*/ 1504225 w 736"/>
                <a:gd name="T41" fmla="*/ 103223 h 360"/>
                <a:gd name="T42" fmla="*/ 1348616 w 736"/>
                <a:gd name="T43" fmla="*/ 132715 h 360"/>
                <a:gd name="T44" fmla="*/ 1262166 w 736"/>
                <a:gd name="T45" fmla="*/ 176953 h 360"/>
                <a:gd name="T46" fmla="*/ 1158427 w 736"/>
                <a:gd name="T47" fmla="*/ 162207 h 360"/>
                <a:gd name="T48" fmla="*/ 1158427 w 736"/>
                <a:gd name="T49" fmla="*/ 132715 h 360"/>
                <a:gd name="T50" fmla="*/ 1089266 w 736"/>
                <a:gd name="T51" fmla="*/ 117969 h 360"/>
                <a:gd name="T52" fmla="*/ 1020107 w 736"/>
                <a:gd name="T53" fmla="*/ 206446 h 360"/>
                <a:gd name="T54" fmla="*/ 1020107 w 736"/>
                <a:gd name="T55" fmla="*/ 162207 h 360"/>
                <a:gd name="T56" fmla="*/ 1089266 w 736"/>
                <a:gd name="T57" fmla="*/ 88477 h 360"/>
                <a:gd name="T58" fmla="*/ 1141137 w 736"/>
                <a:gd name="T59" fmla="*/ 73731 h 360"/>
                <a:gd name="T60" fmla="*/ 1089266 w 736"/>
                <a:gd name="T61" fmla="*/ 58984 h 360"/>
                <a:gd name="T62" fmla="*/ 1002817 w 736"/>
                <a:gd name="T63" fmla="*/ 73731 h 360"/>
                <a:gd name="T64" fmla="*/ 1037397 w 736"/>
                <a:gd name="T65" fmla="*/ 29492 h 360"/>
                <a:gd name="T66" fmla="*/ 933657 w 736"/>
                <a:gd name="T67" fmla="*/ 0 h 360"/>
                <a:gd name="T68" fmla="*/ 224769 w 736"/>
                <a:gd name="T69" fmla="*/ 14746 h 360"/>
                <a:gd name="T70" fmla="*/ 207479 w 736"/>
                <a:gd name="T71" fmla="*/ 29492 h 360"/>
                <a:gd name="T72" fmla="*/ 138320 w 736"/>
                <a:gd name="T73" fmla="*/ 88477 h 360"/>
                <a:gd name="T74" fmla="*/ 17290 w 736"/>
                <a:gd name="T75" fmla="*/ 250684 h 360"/>
                <a:gd name="T76" fmla="*/ 17290 w 736"/>
                <a:gd name="T77" fmla="*/ 294922 h 360"/>
                <a:gd name="T78" fmla="*/ 17290 w 736"/>
                <a:gd name="T79" fmla="*/ 324414 h 360"/>
                <a:gd name="T80" fmla="*/ 34580 w 736"/>
                <a:gd name="T81" fmla="*/ 383399 h 360"/>
                <a:gd name="T82" fmla="*/ 69160 w 736"/>
                <a:gd name="T83" fmla="*/ 427637 h 360"/>
                <a:gd name="T84" fmla="*/ 155610 w 736"/>
                <a:gd name="T85" fmla="*/ 457129 h 360"/>
                <a:gd name="T86" fmla="*/ 397669 w 736"/>
                <a:gd name="T87" fmla="*/ 516114 h 360"/>
                <a:gd name="T88" fmla="*/ 432249 w 736"/>
                <a:gd name="T89" fmla="*/ 560352 h 360"/>
                <a:gd name="T90" fmla="*/ 518698 w 736"/>
                <a:gd name="T91" fmla="*/ 634083 h 36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6"/>
                <a:gd name="T139" fmla="*/ 0 h 360"/>
                <a:gd name="T140" fmla="*/ 736 w 736"/>
                <a:gd name="T141" fmla="*/ 360 h 36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6" h="360">
                  <a:moveTo>
                    <a:pt x="272" y="320"/>
                  </a:moveTo>
                  <a:lnTo>
                    <a:pt x="312" y="296"/>
                  </a:lnTo>
                  <a:lnTo>
                    <a:pt x="304" y="296"/>
                  </a:lnTo>
                  <a:lnTo>
                    <a:pt x="312" y="288"/>
                  </a:lnTo>
                  <a:lnTo>
                    <a:pt x="312" y="296"/>
                  </a:lnTo>
                  <a:lnTo>
                    <a:pt x="320" y="296"/>
                  </a:lnTo>
                  <a:lnTo>
                    <a:pt x="344" y="296"/>
                  </a:lnTo>
                  <a:lnTo>
                    <a:pt x="352" y="288"/>
                  </a:lnTo>
                  <a:lnTo>
                    <a:pt x="352" y="304"/>
                  </a:lnTo>
                  <a:lnTo>
                    <a:pt x="376" y="296"/>
                  </a:lnTo>
                  <a:lnTo>
                    <a:pt x="376" y="304"/>
                  </a:lnTo>
                  <a:lnTo>
                    <a:pt x="384" y="304"/>
                  </a:lnTo>
                  <a:lnTo>
                    <a:pt x="376" y="296"/>
                  </a:lnTo>
                  <a:lnTo>
                    <a:pt x="384" y="288"/>
                  </a:lnTo>
                  <a:lnTo>
                    <a:pt x="368" y="288"/>
                  </a:lnTo>
                  <a:lnTo>
                    <a:pt x="376" y="280"/>
                  </a:lnTo>
                  <a:lnTo>
                    <a:pt x="376" y="288"/>
                  </a:lnTo>
                  <a:lnTo>
                    <a:pt x="400" y="280"/>
                  </a:lnTo>
                  <a:lnTo>
                    <a:pt x="424" y="280"/>
                  </a:lnTo>
                  <a:lnTo>
                    <a:pt x="432" y="288"/>
                  </a:lnTo>
                  <a:lnTo>
                    <a:pt x="432" y="296"/>
                  </a:lnTo>
                  <a:lnTo>
                    <a:pt x="456" y="288"/>
                  </a:lnTo>
                  <a:lnTo>
                    <a:pt x="464" y="304"/>
                  </a:lnTo>
                  <a:lnTo>
                    <a:pt x="464" y="336"/>
                  </a:lnTo>
                  <a:lnTo>
                    <a:pt x="472" y="360"/>
                  </a:lnTo>
                  <a:lnTo>
                    <a:pt x="480" y="360"/>
                  </a:lnTo>
                  <a:lnTo>
                    <a:pt x="488" y="352"/>
                  </a:lnTo>
                  <a:lnTo>
                    <a:pt x="488" y="336"/>
                  </a:lnTo>
                  <a:lnTo>
                    <a:pt x="488" y="272"/>
                  </a:lnTo>
                  <a:lnTo>
                    <a:pt x="504" y="248"/>
                  </a:lnTo>
                  <a:lnTo>
                    <a:pt x="576" y="208"/>
                  </a:lnTo>
                  <a:lnTo>
                    <a:pt x="584" y="200"/>
                  </a:lnTo>
                  <a:lnTo>
                    <a:pt x="568" y="200"/>
                  </a:lnTo>
                  <a:lnTo>
                    <a:pt x="576" y="192"/>
                  </a:lnTo>
                  <a:lnTo>
                    <a:pt x="584" y="200"/>
                  </a:lnTo>
                  <a:lnTo>
                    <a:pt x="576" y="184"/>
                  </a:lnTo>
                  <a:lnTo>
                    <a:pt x="584" y="168"/>
                  </a:lnTo>
                  <a:lnTo>
                    <a:pt x="576" y="160"/>
                  </a:lnTo>
                  <a:lnTo>
                    <a:pt x="584" y="168"/>
                  </a:lnTo>
                  <a:lnTo>
                    <a:pt x="592" y="144"/>
                  </a:lnTo>
                  <a:lnTo>
                    <a:pt x="584" y="160"/>
                  </a:lnTo>
                  <a:lnTo>
                    <a:pt x="592" y="160"/>
                  </a:lnTo>
                  <a:lnTo>
                    <a:pt x="592" y="168"/>
                  </a:lnTo>
                  <a:lnTo>
                    <a:pt x="584" y="176"/>
                  </a:lnTo>
                  <a:lnTo>
                    <a:pt x="600" y="160"/>
                  </a:lnTo>
                  <a:lnTo>
                    <a:pt x="600" y="144"/>
                  </a:lnTo>
                  <a:lnTo>
                    <a:pt x="608" y="152"/>
                  </a:lnTo>
                  <a:lnTo>
                    <a:pt x="616" y="144"/>
                  </a:lnTo>
                  <a:lnTo>
                    <a:pt x="624" y="128"/>
                  </a:lnTo>
                  <a:lnTo>
                    <a:pt x="664" y="120"/>
                  </a:lnTo>
                  <a:lnTo>
                    <a:pt x="664" y="112"/>
                  </a:lnTo>
                  <a:lnTo>
                    <a:pt x="680" y="112"/>
                  </a:lnTo>
                  <a:lnTo>
                    <a:pt x="680" y="104"/>
                  </a:lnTo>
                  <a:lnTo>
                    <a:pt x="672" y="112"/>
                  </a:lnTo>
                  <a:lnTo>
                    <a:pt x="672" y="104"/>
                  </a:lnTo>
                  <a:lnTo>
                    <a:pt x="688" y="80"/>
                  </a:lnTo>
                  <a:lnTo>
                    <a:pt x="712" y="72"/>
                  </a:lnTo>
                  <a:lnTo>
                    <a:pt x="728" y="72"/>
                  </a:lnTo>
                  <a:lnTo>
                    <a:pt x="736" y="56"/>
                  </a:lnTo>
                  <a:lnTo>
                    <a:pt x="728" y="56"/>
                  </a:lnTo>
                  <a:lnTo>
                    <a:pt x="736" y="32"/>
                  </a:lnTo>
                  <a:lnTo>
                    <a:pt x="720" y="24"/>
                  </a:lnTo>
                  <a:lnTo>
                    <a:pt x="696" y="56"/>
                  </a:lnTo>
                  <a:lnTo>
                    <a:pt x="680" y="64"/>
                  </a:lnTo>
                  <a:lnTo>
                    <a:pt x="640" y="64"/>
                  </a:lnTo>
                  <a:lnTo>
                    <a:pt x="624" y="72"/>
                  </a:lnTo>
                  <a:lnTo>
                    <a:pt x="616" y="88"/>
                  </a:lnTo>
                  <a:lnTo>
                    <a:pt x="576" y="88"/>
                  </a:lnTo>
                  <a:lnTo>
                    <a:pt x="584" y="96"/>
                  </a:lnTo>
                  <a:lnTo>
                    <a:pt x="536" y="112"/>
                  </a:lnTo>
                  <a:lnTo>
                    <a:pt x="520" y="112"/>
                  </a:lnTo>
                  <a:lnTo>
                    <a:pt x="536" y="88"/>
                  </a:lnTo>
                  <a:lnTo>
                    <a:pt x="536" y="80"/>
                  </a:lnTo>
                  <a:lnTo>
                    <a:pt x="528" y="80"/>
                  </a:lnTo>
                  <a:lnTo>
                    <a:pt x="536" y="72"/>
                  </a:lnTo>
                  <a:lnTo>
                    <a:pt x="536" y="56"/>
                  </a:lnTo>
                  <a:lnTo>
                    <a:pt x="528" y="56"/>
                  </a:lnTo>
                  <a:lnTo>
                    <a:pt x="504" y="64"/>
                  </a:lnTo>
                  <a:lnTo>
                    <a:pt x="496" y="80"/>
                  </a:lnTo>
                  <a:lnTo>
                    <a:pt x="480" y="104"/>
                  </a:lnTo>
                  <a:lnTo>
                    <a:pt x="472" y="112"/>
                  </a:lnTo>
                  <a:lnTo>
                    <a:pt x="464" y="112"/>
                  </a:lnTo>
                  <a:lnTo>
                    <a:pt x="464" y="104"/>
                  </a:lnTo>
                  <a:lnTo>
                    <a:pt x="472" y="88"/>
                  </a:lnTo>
                  <a:lnTo>
                    <a:pt x="496" y="64"/>
                  </a:lnTo>
                  <a:lnTo>
                    <a:pt x="480" y="72"/>
                  </a:lnTo>
                  <a:lnTo>
                    <a:pt x="504" y="48"/>
                  </a:lnTo>
                  <a:lnTo>
                    <a:pt x="536" y="48"/>
                  </a:lnTo>
                  <a:lnTo>
                    <a:pt x="536" y="40"/>
                  </a:lnTo>
                  <a:lnTo>
                    <a:pt x="528" y="40"/>
                  </a:lnTo>
                  <a:lnTo>
                    <a:pt x="536" y="40"/>
                  </a:lnTo>
                  <a:lnTo>
                    <a:pt x="504" y="40"/>
                  </a:lnTo>
                  <a:lnTo>
                    <a:pt x="504" y="32"/>
                  </a:lnTo>
                  <a:lnTo>
                    <a:pt x="488" y="40"/>
                  </a:lnTo>
                  <a:lnTo>
                    <a:pt x="504" y="24"/>
                  </a:lnTo>
                  <a:lnTo>
                    <a:pt x="464" y="40"/>
                  </a:lnTo>
                  <a:lnTo>
                    <a:pt x="464" y="32"/>
                  </a:lnTo>
                  <a:lnTo>
                    <a:pt x="448" y="40"/>
                  </a:lnTo>
                  <a:lnTo>
                    <a:pt x="480" y="16"/>
                  </a:lnTo>
                  <a:lnTo>
                    <a:pt x="488" y="16"/>
                  </a:lnTo>
                  <a:lnTo>
                    <a:pt x="440" y="8"/>
                  </a:lnTo>
                  <a:lnTo>
                    <a:pt x="432" y="0"/>
                  </a:lnTo>
                  <a:lnTo>
                    <a:pt x="424" y="0"/>
                  </a:lnTo>
                  <a:lnTo>
                    <a:pt x="104" y="0"/>
                  </a:lnTo>
                  <a:lnTo>
                    <a:pt x="104" y="8"/>
                  </a:lnTo>
                  <a:lnTo>
                    <a:pt x="96" y="24"/>
                  </a:lnTo>
                  <a:lnTo>
                    <a:pt x="88" y="24"/>
                  </a:lnTo>
                  <a:lnTo>
                    <a:pt x="96" y="16"/>
                  </a:lnTo>
                  <a:lnTo>
                    <a:pt x="80" y="8"/>
                  </a:lnTo>
                  <a:lnTo>
                    <a:pt x="72" y="16"/>
                  </a:lnTo>
                  <a:lnTo>
                    <a:pt x="64" y="48"/>
                  </a:lnTo>
                  <a:lnTo>
                    <a:pt x="24" y="96"/>
                  </a:lnTo>
                  <a:lnTo>
                    <a:pt x="16" y="112"/>
                  </a:lnTo>
                  <a:lnTo>
                    <a:pt x="8" y="136"/>
                  </a:lnTo>
                  <a:lnTo>
                    <a:pt x="8" y="144"/>
                  </a:lnTo>
                  <a:lnTo>
                    <a:pt x="0" y="152"/>
                  </a:lnTo>
                  <a:lnTo>
                    <a:pt x="8" y="160"/>
                  </a:lnTo>
                  <a:lnTo>
                    <a:pt x="0" y="168"/>
                  </a:lnTo>
                  <a:lnTo>
                    <a:pt x="16" y="168"/>
                  </a:lnTo>
                  <a:lnTo>
                    <a:pt x="8" y="176"/>
                  </a:lnTo>
                  <a:lnTo>
                    <a:pt x="8" y="184"/>
                  </a:lnTo>
                  <a:lnTo>
                    <a:pt x="8" y="192"/>
                  </a:lnTo>
                  <a:lnTo>
                    <a:pt x="16" y="208"/>
                  </a:lnTo>
                  <a:lnTo>
                    <a:pt x="8" y="216"/>
                  </a:lnTo>
                  <a:lnTo>
                    <a:pt x="32" y="224"/>
                  </a:lnTo>
                  <a:lnTo>
                    <a:pt x="32" y="232"/>
                  </a:lnTo>
                  <a:lnTo>
                    <a:pt x="40" y="240"/>
                  </a:lnTo>
                  <a:lnTo>
                    <a:pt x="40" y="248"/>
                  </a:lnTo>
                  <a:lnTo>
                    <a:pt x="72" y="248"/>
                  </a:lnTo>
                  <a:lnTo>
                    <a:pt x="112" y="272"/>
                  </a:lnTo>
                  <a:lnTo>
                    <a:pt x="176" y="264"/>
                  </a:lnTo>
                  <a:lnTo>
                    <a:pt x="184" y="280"/>
                  </a:lnTo>
                  <a:lnTo>
                    <a:pt x="184" y="288"/>
                  </a:lnTo>
                  <a:lnTo>
                    <a:pt x="192" y="304"/>
                  </a:lnTo>
                  <a:lnTo>
                    <a:pt x="200" y="304"/>
                  </a:lnTo>
                  <a:lnTo>
                    <a:pt x="208" y="288"/>
                  </a:lnTo>
                  <a:lnTo>
                    <a:pt x="224" y="296"/>
                  </a:lnTo>
                  <a:lnTo>
                    <a:pt x="240" y="344"/>
                  </a:lnTo>
                  <a:lnTo>
                    <a:pt x="264" y="352"/>
                  </a:lnTo>
                  <a:lnTo>
                    <a:pt x="272" y="32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5" name="Freeform 125">
              <a:extLst>
                <a:ext uri="{FF2B5EF4-FFF2-40B4-BE49-F238E27FC236}">
                  <a16:creationId xmlns:a16="http://schemas.microsoft.com/office/drawing/2014/main" id="{3365FF28-4732-7B32-F0B6-2CAFEED9FB95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2135188" y="4191001"/>
              <a:ext cx="120650" cy="119063"/>
            </a:xfrm>
            <a:custGeom>
              <a:avLst/>
              <a:gdLst>
                <a:gd name="T0" fmla="*/ 68943 w 56"/>
                <a:gd name="T1" fmla="*/ 89297 h 64"/>
                <a:gd name="T2" fmla="*/ 51707 w 56"/>
                <a:gd name="T3" fmla="*/ 119063 h 64"/>
                <a:gd name="T4" fmla="*/ 0 w 56"/>
                <a:gd name="T5" fmla="*/ 104180 h 64"/>
                <a:gd name="T6" fmla="*/ 0 w 56"/>
                <a:gd name="T7" fmla="*/ 89297 h 64"/>
                <a:gd name="T8" fmla="*/ 34471 w 56"/>
                <a:gd name="T9" fmla="*/ 44649 h 64"/>
                <a:gd name="T10" fmla="*/ 51707 w 56"/>
                <a:gd name="T11" fmla="*/ 44649 h 64"/>
                <a:gd name="T12" fmla="*/ 34471 w 56"/>
                <a:gd name="T13" fmla="*/ 14883 h 64"/>
                <a:gd name="T14" fmla="*/ 51707 w 56"/>
                <a:gd name="T15" fmla="*/ 0 h 64"/>
                <a:gd name="T16" fmla="*/ 103414 w 56"/>
                <a:gd name="T17" fmla="*/ 0 h 64"/>
                <a:gd name="T18" fmla="*/ 86179 w 56"/>
                <a:gd name="T19" fmla="*/ 44649 h 64"/>
                <a:gd name="T20" fmla="*/ 103414 w 56"/>
                <a:gd name="T21" fmla="*/ 59532 h 64"/>
                <a:gd name="T22" fmla="*/ 120650 w 56"/>
                <a:gd name="T23" fmla="*/ 59532 h 64"/>
                <a:gd name="T24" fmla="*/ 68943 w 56"/>
                <a:gd name="T25" fmla="*/ 89297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6"/>
                <a:gd name="T40" fmla="*/ 0 h 64"/>
                <a:gd name="T41" fmla="*/ 56 w 56"/>
                <a:gd name="T42" fmla="*/ 64 h 6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6" h="64">
                  <a:moveTo>
                    <a:pt x="32" y="48"/>
                  </a:moveTo>
                  <a:lnTo>
                    <a:pt x="24" y="64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16" y="24"/>
                  </a:lnTo>
                  <a:lnTo>
                    <a:pt x="24" y="24"/>
                  </a:lnTo>
                  <a:lnTo>
                    <a:pt x="16" y="8"/>
                  </a:lnTo>
                  <a:lnTo>
                    <a:pt x="24" y="0"/>
                  </a:lnTo>
                  <a:lnTo>
                    <a:pt x="48" y="0"/>
                  </a:lnTo>
                  <a:lnTo>
                    <a:pt x="40" y="24"/>
                  </a:lnTo>
                  <a:lnTo>
                    <a:pt x="48" y="32"/>
                  </a:lnTo>
                  <a:lnTo>
                    <a:pt x="56" y="32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6" name="Freeform 126">
              <a:extLst>
                <a:ext uri="{FF2B5EF4-FFF2-40B4-BE49-F238E27FC236}">
                  <a16:creationId xmlns:a16="http://schemas.microsoft.com/office/drawing/2014/main" id="{1F944447-4548-D8A0-1411-D8A5B8CB7C5E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2185988" y="4279901"/>
              <a:ext cx="69850" cy="44450"/>
            </a:xfrm>
            <a:custGeom>
              <a:avLst/>
              <a:gdLst>
                <a:gd name="T0" fmla="*/ 69850 w 32"/>
                <a:gd name="T1" fmla="*/ 29633 h 24"/>
                <a:gd name="T2" fmla="*/ 17463 w 32"/>
                <a:gd name="T3" fmla="*/ 0 h 24"/>
                <a:gd name="T4" fmla="*/ 0 w 32"/>
                <a:gd name="T5" fmla="*/ 29633 h 24"/>
                <a:gd name="T6" fmla="*/ 17463 w 32"/>
                <a:gd name="T7" fmla="*/ 29633 h 24"/>
                <a:gd name="T8" fmla="*/ 69850 w 32"/>
                <a:gd name="T9" fmla="*/ 44450 h 24"/>
                <a:gd name="T10" fmla="*/ 69850 w 32"/>
                <a:gd name="T11" fmla="*/ 29633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2"/>
                <a:gd name="T19" fmla="*/ 0 h 24"/>
                <a:gd name="T20" fmla="*/ 32 w 32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2" h="24">
                  <a:moveTo>
                    <a:pt x="32" y="16"/>
                  </a:moveTo>
                  <a:lnTo>
                    <a:pt x="8" y="0"/>
                  </a:lnTo>
                  <a:lnTo>
                    <a:pt x="0" y="16"/>
                  </a:lnTo>
                  <a:lnTo>
                    <a:pt x="8" y="16"/>
                  </a:lnTo>
                  <a:lnTo>
                    <a:pt x="32" y="24"/>
                  </a:lnTo>
                  <a:lnTo>
                    <a:pt x="32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7" name="Freeform 127">
              <a:extLst>
                <a:ext uri="{FF2B5EF4-FFF2-40B4-BE49-F238E27FC236}">
                  <a16:creationId xmlns:a16="http://schemas.microsoft.com/office/drawing/2014/main" id="{10AE428C-7B24-E124-22C2-4ADFA40D1E10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2463801" y="4427538"/>
              <a:ext cx="17463" cy="14288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0 h 8"/>
                <a:gd name="T4" fmla="*/ 17463 w 8"/>
                <a:gd name="T5" fmla="*/ 14288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8" name="Freeform 128">
              <a:extLst>
                <a:ext uri="{FF2B5EF4-FFF2-40B4-BE49-F238E27FC236}">
                  <a16:creationId xmlns:a16="http://schemas.microsoft.com/office/drawing/2014/main" id="{C67869AE-E3DD-1F85-4555-A05EF8134FD6}"/>
                </a:ext>
              </a:extLst>
            </p:cNvPr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2463801" y="4427538"/>
              <a:ext cx="17463" cy="14288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0 h 8"/>
                <a:gd name="T4" fmla="*/ 17463 w 8"/>
                <a:gd name="T5" fmla="*/ 14288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9" name="Freeform 129">
              <a:extLst>
                <a:ext uri="{FF2B5EF4-FFF2-40B4-BE49-F238E27FC236}">
                  <a16:creationId xmlns:a16="http://schemas.microsoft.com/office/drawing/2014/main" id="{27D5634E-3C62-6BEE-EF70-CB84A170F534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2481263" y="4427538"/>
              <a:ext cx="68263" cy="58738"/>
            </a:xfrm>
            <a:custGeom>
              <a:avLst/>
              <a:gdLst>
                <a:gd name="T0" fmla="*/ 68263 w 32"/>
                <a:gd name="T1" fmla="*/ 29369 h 32"/>
                <a:gd name="T2" fmla="*/ 34132 w 32"/>
                <a:gd name="T3" fmla="*/ 0 h 32"/>
                <a:gd name="T4" fmla="*/ 17066 w 32"/>
                <a:gd name="T5" fmla="*/ 0 h 32"/>
                <a:gd name="T6" fmla="*/ 0 w 32"/>
                <a:gd name="T7" fmla="*/ 0 h 32"/>
                <a:gd name="T8" fmla="*/ 0 w 32"/>
                <a:gd name="T9" fmla="*/ 14685 h 32"/>
                <a:gd name="T10" fmla="*/ 34132 w 32"/>
                <a:gd name="T11" fmla="*/ 29369 h 32"/>
                <a:gd name="T12" fmla="*/ 34132 w 32"/>
                <a:gd name="T13" fmla="*/ 44053 h 32"/>
                <a:gd name="T14" fmla="*/ 51197 w 32"/>
                <a:gd name="T15" fmla="*/ 58738 h 32"/>
                <a:gd name="T16" fmla="*/ 68263 w 32"/>
                <a:gd name="T17" fmla="*/ 44053 h 32"/>
                <a:gd name="T18" fmla="*/ 68263 w 32"/>
                <a:gd name="T19" fmla="*/ 29369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32"/>
                <a:gd name="T32" fmla="*/ 32 w 32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32">
                  <a:moveTo>
                    <a:pt x="32" y="16"/>
                  </a:move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16" y="16"/>
                  </a:lnTo>
                  <a:lnTo>
                    <a:pt x="16" y="24"/>
                  </a:lnTo>
                  <a:lnTo>
                    <a:pt x="24" y="32"/>
                  </a:lnTo>
                  <a:lnTo>
                    <a:pt x="32" y="24"/>
                  </a:lnTo>
                  <a:lnTo>
                    <a:pt x="32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0" name="Freeform 130">
              <a:extLst>
                <a:ext uri="{FF2B5EF4-FFF2-40B4-BE49-F238E27FC236}">
                  <a16:creationId xmlns:a16="http://schemas.microsoft.com/office/drawing/2014/main" id="{25DA099C-F4EB-F6B4-53A8-7450C8E5C9DC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2376488" y="4427538"/>
              <a:ext cx="104775" cy="58738"/>
            </a:xfrm>
            <a:custGeom>
              <a:avLst/>
              <a:gdLst>
                <a:gd name="T0" fmla="*/ 17463 w 48"/>
                <a:gd name="T1" fmla="*/ 0 h 32"/>
                <a:gd name="T2" fmla="*/ 34925 w 48"/>
                <a:gd name="T3" fmla="*/ 14685 h 32"/>
                <a:gd name="T4" fmla="*/ 52387 w 48"/>
                <a:gd name="T5" fmla="*/ 14685 h 32"/>
                <a:gd name="T6" fmla="*/ 87313 w 48"/>
                <a:gd name="T7" fmla="*/ 0 h 32"/>
                <a:gd name="T8" fmla="*/ 104775 w 48"/>
                <a:gd name="T9" fmla="*/ 14685 h 32"/>
                <a:gd name="T10" fmla="*/ 69850 w 48"/>
                <a:gd name="T11" fmla="*/ 29369 h 32"/>
                <a:gd name="T12" fmla="*/ 87313 w 48"/>
                <a:gd name="T13" fmla="*/ 58738 h 32"/>
                <a:gd name="T14" fmla="*/ 69850 w 48"/>
                <a:gd name="T15" fmla="*/ 58738 h 32"/>
                <a:gd name="T16" fmla="*/ 52387 w 48"/>
                <a:gd name="T17" fmla="*/ 44053 h 32"/>
                <a:gd name="T18" fmla="*/ 0 w 48"/>
                <a:gd name="T19" fmla="*/ 29369 h 32"/>
                <a:gd name="T20" fmla="*/ 17463 w 48"/>
                <a:gd name="T21" fmla="*/ 0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32"/>
                <a:gd name="T35" fmla="*/ 48 w 48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32">
                  <a:moveTo>
                    <a:pt x="8" y="0"/>
                  </a:moveTo>
                  <a:lnTo>
                    <a:pt x="16" y="8"/>
                  </a:lnTo>
                  <a:lnTo>
                    <a:pt x="24" y="8"/>
                  </a:lnTo>
                  <a:lnTo>
                    <a:pt x="40" y="0"/>
                  </a:lnTo>
                  <a:lnTo>
                    <a:pt x="48" y="8"/>
                  </a:lnTo>
                  <a:lnTo>
                    <a:pt x="32" y="16"/>
                  </a:lnTo>
                  <a:lnTo>
                    <a:pt x="40" y="32"/>
                  </a:lnTo>
                  <a:lnTo>
                    <a:pt x="32" y="32"/>
                  </a:lnTo>
                  <a:lnTo>
                    <a:pt x="24" y="24"/>
                  </a:lnTo>
                  <a:lnTo>
                    <a:pt x="0" y="16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" name="Freeform 131">
              <a:extLst>
                <a:ext uri="{FF2B5EF4-FFF2-40B4-BE49-F238E27FC236}">
                  <a16:creationId xmlns:a16="http://schemas.microsoft.com/office/drawing/2014/main" id="{6E11AFCA-7D75-A876-F59F-C5C79D64B4D9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2308226" y="4383088"/>
              <a:ext cx="85725" cy="74613"/>
            </a:xfrm>
            <a:custGeom>
              <a:avLst/>
              <a:gdLst>
                <a:gd name="T0" fmla="*/ 85725 w 40"/>
                <a:gd name="T1" fmla="*/ 44768 h 40"/>
                <a:gd name="T2" fmla="*/ 68580 w 40"/>
                <a:gd name="T3" fmla="*/ 29845 h 40"/>
                <a:gd name="T4" fmla="*/ 51435 w 40"/>
                <a:gd name="T5" fmla="*/ 0 h 40"/>
                <a:gd name="T6" fmla="*/ 0 w 40"/>
                <a:gd name="T7" fmla="*/ 0 h 40"/>
                <a:gd name="T8" fmla="*/ 0 w 40"/>
                <a:gd name="T9" fmla="*/ 29845 h 40"/>
                <a:gd name="T10" fmla="*/ 17145 w 40"/>
                <a:gd name="T11" fmla="*/ 44768 h 40"/>
                <a:gd name="T12" fmla="*/ 17145 w 40"/>
                <a:gd name="T13" fmla="*/ 29845 h 40"/>
                <a:gd name="T14" fmla="*/ 51435 w 40"/>
                <a:gd name="T15" fmla="*/ 59690 h 40"/>
                <a:gd name="T16" fmla="*/ 51435 w 40"/>
                <a:gd name="T17" fmla="*/ 74613 h 40"/>
                <a:gd name="T18" fmla="*/ 68580 w 40"/>
                <a:gd name="T19" fmla="*/ 74613 h 40"/>
                <a:gd name="T20" fmla="*/ 85725 w 40"/>
                <a:gd name="T21" fmla="*/ 44768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40"/>
                <a:gd name="T35" fmla="*/ 40 w 40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40">
                  <a:moveTo>
                    <a:pt x="40" y="24"/>
                  </a:moveTo>
                  <a:lnTo>
                    <a:pt x="32" y="16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8" y="24"/>
                  </a:lnTo>
                  <a:lnTo>
                    <a:pt x="8" y="16"/>
                  </a:lnTo>
                  <a:lnTo>
                    <a:pt x="24" y="32"/>
                  </a:lnTo>
                  <a:lnTo>
                    <a:pt x="24" y="40"/>
                  </a:lnTo>
                  <a:lnTo>
                    <a:pt x="32" y="40"/>
                  </a:lnTo>
                  <a:lnTo>
                    <a:pt x="4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2" name="Freeform 132">
              <a:extLst>
                <a:ext uri="{FF2B5EF4-FFF2-40B4-BE49-F238E27FC236}">
                  <a16:creationId xmlns:a16="http://schemas.microsoft.com/office/drawing/2014/main" id="{96FE3ABB-8305-A376-3C07-7531119AB338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2273301" y="4265613"/>
              <a:ext cx="120650" cy="117475"/>
            </a:xfrm>
            <a:custGeom>
              <a:avLst/>
              <a:gdLst>
                <a:gd name="T0" fmla="*/ 86179 w 56"/>
                <a:gd name="T1" fmla="*/ 117475 h 64"/>
                <a:gd name="T2" fmla="*/ 120650 w 56"/>
                <a:gd name="T3" fmla="*/ 29369 h 64"/>
                <a:gd name="T4" fmla="*/ 120650 w 56"/>
                <a:gd name="T5" fmla="*/ 0 h 64"/>
                <a:gd name="T6" fmla="*/ 68943 w 56"/>
                <a:gd name="T7" fmla="*/ 14684 h 64"/>
                <a:gd name="T8" fmla="*/ 0 w 56"/>
                <a:gd name="T9" fmla="*/ 58738 h 64"/>
                <a:gd name="T10" fmla="*/ 0 w 56"/>
                <a:gd name="T11" fmla="*/ 73422 h 64"/>
                <a:gd name="T12" fmla="*/ 34471 w 56"/>
                <a:gd name="T13" fmla="*/ 117475 h 64"/>
                <a:gd name="T14" fmla="*/ 86179 w 56"/>
                <a:gd name="T15" fmla="*/ 117475 h 6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6"/>
                <a:gd name="T25" fmla="*/ 0 h 64"/>
                <a:gd name="T26" fmla="*/ 56 w 56"/>
                <a:gd name="T27" fmla="*/ 64 h 6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6" h="64">
                  <a:moveTo>
                    <a:pt x="40" y="64"/>
                  </a:moveTo>
                  <a:lnTo>
                    <a:pt x="56" y="16"/>
                  </a:lnTo>
                  <a:lnTo>
                    <a:pt x="56" y="0"/>
                  </a:lnTo>
                  <a:lnTo>
                    <a:pt x="32" y="8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16" y="64"/>
                  </a:lnTo>
                  <a:lnTo>
                    <a:pt x="40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3" name="Freeform 133">
              <a:extLst>
                <a:ext uri="{FF2B5EF4-FFF2-40B4-BE49-F238E27FC236}">
                  <a16:creationId xmlns:a16="http://schemas.microsoft.com/office/drawing/2014/main" id="{D4D56DB1-73CE-C9B6-9958-1175C6B14D83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2203451" y="4251326"/>
              <a:ext cx="190500" cy="73025"/>
            </a:xfrm>
            <a:custGeom>
              <a:avLst/>
              <a:gdLst>
                <a:gd name="T0" fmla="*/ 51955 w 88"/>
                <a:gd name="T1" fmla="*/ 0 h 40"/>
                <a:gd name="T2" fmla="*/ 138545 w 88"/>
                <a:gd name="T3" fmla="*/ 0 h 40"/>
                <a:gd name="T4" fmla="*/ 190500 w 88"/>
                <a:gd name="T5" fmla="*/ 14605 h 40"/>
                <a:gd name="T6" fmla="*/ 138545 w 88"/>
                <a:gd name="T7" fmla="*/ 29210 h 40"/>
                <a:gd name="T8" fmla="*/ 69273 w 88"/>
                <a:gd name="T9" fmla="*/ 73025 h 40"/>
                <a:gd name="T10" fmla="*/ 51955 w 88"/>
                <a:gd name="T11" fmla="*/ 58420 h 40"/>
                <a:gd name="T12" fmla="*/ 0 w 88"/>
                <a:gd name="T13" fmla="*/ 29210 h 40"/>
                <a:gd name="T14" fmla="*/ 51955 w 88"/>
                <a:gd name="T15" fmla="*/ 0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40"/>
                <a:gd name="T26" fmla="*/ 88 w 88"/>
                <a:gd name="T27" fmla="*/ 40 h 4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40">
                  <a:moveTo>
                    <a:pt x="24" y="0"/>
                  </a:moveTo>
                  <a:lnTo>
                    <a:pt x="64" y="0"/>
                  </a:lnTo>
                  <a:lnTo>
                    <a:pt x="88" y="8"/>
                  </a:lnTo>
                  <a:lnTo>
                    <a:pt x="64" y="16"/>
                  </a:lnTo>
                  <a:lnTo>
                    <a:pt x="32" y="40"/>
                  </a:lnTo>
                  <a:lnTo>
                    <a:pt x="24" y="32"/>
                  </a:lnTo>
                  <a:lnTo>
                    <a:pt x="0" y="1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4" name="Freeform 134">
              <a:extLst>
                <a:ext uri="{FF2B5EF4-FFF2-40B4-BE49-F238E27FC236}">
                  <a16:creationId xmlns:a16="http://schemas.microsoft.com/office/drawing/2014/main" id="{EE12B901-6243-FCF1-927D-5820C8F5936A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2722563" y="4132263"/>
              <a:ext cx="103188" cy="74613"/>
            </a:xfrm>
            <a:custGeom>
              <a:avLst/>
              <a:gdLst>
                <a:gd name="T0" fmla="*/ 17198 w 48"/>
                <a:gd name="T1" fmla="*/ 0 h 40"/>
                <a:gd name="T2" fmla="*/ 68792 w 48"/>
                <a:gd name="T3" fmla="*/ 14923 h 40"/>
                <a:gd name="T4" fmla="*/ 85990 w 48"/>
                <a:gd name="T5" fmla="*/ 14923 h 40"/>
                <a:gd name="T6" fmla="*/ 68792 w 48"/>
                <a:gd name="T7" fmla="*/ 29845 h 40"/>
                <a:gd name="T8" fmla="*/ 103188 w 48"/>
                <a:gd name="T9" fmla="*/ 29845 h 40"/>
                <a:gd name="T10" fmla="*/ 103188 w 48"/>
                <a:gd name="T11" fmla="*/ 44768 h 40"/>
                <a:gd name="T12" fmla="*/ 103188 w 48"/>
                <a:gd name="T13" fmla="*/ 59690 h 40"/>
                <a:gd name="T14" fmla="*/ 85990 w 48"/>
                <a:gd name="T15" fmla="*/ 44768 h 40"/>
                <a:gd name="T16" fmla="*/ 34396 w 48"/>
                <a:gd name="T17" fmla="*/ 44768 h 40"/>
                <a:gd name="T18" fmla="*/ 51594 w 48"/>
                <a:gd name="T19" fmla="*/ 44768 h 40"/>
                <a:gd name="T20" fmla="*/ 34396 w 48"/>
                <a:gd name="T21" fmla="*/ 44768 h 40"/>
                <a:gd name="T22" fmla="*/ 17198 w 48"/>
                <a:gd name="T23" fmla="*/ 74613 h 40"/>
                <a:gd name="T24" fmla="*/ 0 w 48"/>
                <a:gd name="T25" fmla="*/ 59690 h 40"/>
                <a:gd name="T26" fmla="*/ 17198 w 48"/>
                <a:gd name="T27" fmla="*/ 0 h 4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8"/>
                <a:gd name="T43" fmla="*/ 0 h 40"/>
                <a:gd name="T44" fmla="*/ 48 w 48"/>
                <a:gd name="T45" fmla="*/ 40 h 4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8" h="40">
                  <a:moveTo>
                    <a:pt x="8" y="0"/>
                  </a:moveTo>
                  <a:lnTo>
                    <a:pt x="32" y="8"/>
                  </a:lnTo>
                  <a:lnTo>
                    <a:pt x="40" y="8"/>
                  </a:lnTo>
                  <a:lnTo>
                    <a:pt x="32" y="16"/>
                  </a:lnTo>
                  <a:lnTo>
                    <a:pt x="48" y="16"/>
                  </a:lnTo>
                  <a:lnTo>
                    <a:pt x="48" y="24"/>
                  </a:lnTo>
                  <a:lnTo>
                    <a:pt x="48" y="32"/>
                  </a:lnTo>
                  <a:lnTo>
                    <a:pt x="40" y="24"/>
                  </a:lnTo>
                  <a:lnTo>
                    <a:pt x="16" y="24"/>
                  </a:lnTo>
                  <a:lnTo>
                    <a:pt x="24" y="24"/>
                  </a:lnTo>
                  <a:lnTo>
                    <a:pt x="16" y="24"/>
                  </a:lnTo>
                  <a:lnTo>
                    <a:pt x="8" y="40"/>
                  </a:lnTo>
                  <a:lnTo>
                    <a:pt x="0" y="3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5" name="Freeform 135">
              <a:extLst>
                <a:ext uri="{FF2B5EF4-FFF2-40B4-BE49-F238E27FC236}">
                  <a16:creationId xmlns:a16="http://schemas.microsoft.com/office/drawing/2014/main" id="{6DF7D964-BD23-CF77-680E-E5EC0E17B9F4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2654301" y="4132263"/>
              <a:ext cx="85725" cy="58738"/>
            </a:xfrm>
            <a:custGeom>
              <a:avLst/>
              <a:gdLst>
                <a:gd name="T0" fmla="*/ 85725 w 40"/>
                <a:gd name="T1" fmla="*/ 0 h 32"/>
                <a:gd name="T2" fmla="*/ 51435 w 40"/>
                <a:gd name="T3" fmla="*/ 0 h 32"/>
                <a:gd name="T4" fmla="*/ 34290 w 40"/>
                <a:gd name="T5" fmla="*/ 14685 h 32"/>
                <a:gd name="T6" fmla="*/ 51435 w 40"/>
                <a:gd name="T7" fmla="*/ 14685 h 32"/>
                <a:gd name="T8" fmla="*/ 68580 w 40"/>
                <a:gd name="T9" fmla="*/ 44053 h 32"/>
                <a:gd name="T10" fmla="*/ 34290 w 40"/>
                <a:gd name="T11" fmla="*/ 44053 h 32"/>
                <a:gd name="T12" fmla="*/ 17145 w 40"/>
                <a:gd name="T13" fmla="*/ 44053 h 32"/>
                <a:gd name="T14" fmla="*/ 0 w 40"/>
                <a:gd name="T15" fmla="*/ 44053 h 32"/>
                <a:gd name="T16" fmla="*/ 17145 w 40"/>
                <a:gd name="T17" fmla="*/ 58738 h 32"/>
                <a:gd name="T18" fmla="*/ 68580 w 40"/>
                <a:gd name="T19" fmla="*/ 58738 h 32"/>
                <a:gd name="T20" fmla="*/ 85725 w 40"/>
                <a:gd name="T21" fmla="*/ 0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32"/>
                <a:gd name="T35" fmla="*/ 40 w 40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32">
                  <a:moveTo>
                    <a:pt x="40" y="0"/>
                  </a:moveTo>
                  <a:lnTo>
                    <a:pt x="24" y="0"/>
                  </a:lnTo>
                  <a:lnTo>
                    <a:pt x="16" y="8"/>
                  </a:lnTo>
                  <a:lnTo>
                    <a:pt x="24" y="8"/>
                  </a:lnTo>
                  <a:lnTo>
                    <a:pt x="32" y="24"/>
                  </a:lnTo>
                  <a:lnTo>
                    <a:pt x="16" y="24"/>
                  </a:lnTo>
                  <a:lnTo>
                    <a:pt x="8" y="24"/>
                  </a:lnTo>
                  <a:lnTo>
                    <a:pt x="0" y="24"/>
                  </a:lnTo>
                  <a:lnTo>
                    <a:pt x="8" y="32"/>
                  </a:lnTo>
                  <a:lnTo>
                    <a:pt x="32" y="32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6" name="Freeform 136">
              <a:extLst>
                <a:ext uri="{FF2B5EF4-FFF2-40B4-BE49-F238E27FC236}">
                  <a16:creationId xmlns:a16="http://schemas.microsoft.com/office/drawing/2014/main" id="{E3198F15-7E08-4939-FDBF-6DB04781E506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3189288" y="5534026"/>
              <a:ext cx="138113" cy="133350"/>
            </a:xfrm>
            <a:custGeom>
              <a:avLst/>
              <a:gdLst>
                <a:gd name="T0" fmla="*/ 0 w 64"/>
                <a:gd name="T1" fmla="*/ 103717 h 72"/>
                <a:gd name="T2" fmla="*/ 0 w 64"/>
                <a:gd name="T3" fmla="*/ 0 h 72"/>
                <a:gd name="T4" fmla="*/ 17264 w 64"/>
                <a:gd name="T5" fmla="*/ 0 h 72"/>
                <a:gd name="T6" fmla="*/ 51792 w 64"/>
                <a:gd name="T7" fmla="*/ 29633 h 72"/>
                <a:gd name="T8" fmla="*/ 51792 w 64"/>
                <a:gd name="T9" fmla="*/ 14817 h 72"/>
                <a:gd name="T10" fmla="*/ 120849 w 64"/>
                <a:gd name="T11" fmla="*/ 44450 h 72"/>
                <a:gd name="T12" fmla="*/ 138113 w 64"/>
                <a:gd name="T13" fmla="*/ 74083 h 72"/>
                <a:gd name="T14" fmla="*/ 138113 w 64"/>
                <a:gd name="T15" fmla="*/ 103717 h 72"/>
                <a:gd name="T16" fmla="*/ 120849 w 64"/>
                <a:gd name="T17" fmla="*/ 118533 h 72"/>
                <a:gd name="T18" fmla="*/ 69057 w 64"/>
                <a:gd name="T19" fmla="*/ 133350 h 72"/>
                <a:gd name="T20" fmla="*/ 0 w 64"/>
                <a:gd name="T21" fmla="*/ 103717 h 7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4"/>
                <a:gd name="T34" fmla="*/ 0 h 72"/>
                <a:gd name="T35" fmla="*/ 64 w 64"/>
                <a:gd name="T36" fmla="*/ 72 h 7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4" h="72">
                  <a:moveTo>
                    <a:pt x="0" y="56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56" y="24"/>
                  </a:lnTo>
                  <a:lnTo>
                    <a:pt x="64" y="40"/>
                  </a:lnTo>
                  <a:lnTo>
                    <a:pt x="64" y="56"/>
                  </a:lnTo>
                  <a:lnTo>
                    <a:pt x="56" y="64"/>
                  </a:lnTo>
                  <a:lnTo>
                    <a:pt x="32" y="72"/>
                  </a:lnTo>
                  <a:lnTo>
                    <a:pt x="0" y="5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7" name="Freeform 137">
              <a:extLst>
                <a:ext uri="{FF2B5EF4-FFF2-40B4-BE49-F238E27FC236}">
                  <a16:creationId xmlns:a16="http://schemas.microsoft.com/office/drawing/2014/main" id="{A300557E-4295-B407-E9C0-92AB7ED2C7A8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654301" y="4546601"/>
              <a:ext cx="1106488" cy="1090613"/>
            </a:xfrm>
            <a:custGeom>
              <a:avLst/>
              <a:gdLst>
                <a:gd name="T0" fmla="*/ 587822 w 512"/>
                <a:gd name="T1" fmla="*/ 88428 h 592"/>
                <a:gd name="T2" fmla="*/ 501377 w 512"/>
                <a:gd name="T3" fmla="*/ 73690 h 592"/>
                <a:gd name="T4" fmla="*/ 484088 w 512"/>
                <a:gd name="T5" fmla="*/ 88428 h 592"/>
                <a:gd name="T6" fmla="*/ 414933 w 512"/>
                <a:gd name="T7" fmla="*/ 103166 h 592"/>
                <a:gd name="T8" fmla="*/ 380355 w 512"/>
                <a:gd name="T9" fmla="*/ 73690 h 592"/>
                <a:gd name="T10" fmla="*/ 380355 w 512"/>
                <a:gd name="T11" fmla="*/ 0 h 592"/>
                <a:gd name="T12" fmla="*/ 363066 w 512"/>
                <a:gd name="T13" fmla="*/ 14738 h 592"/>
                <a:gd name="T14" fmla="*/ 242044 w 512"/>
                <a:gd name="T15" fmla="*/ 29476 h 592"/>
                <a:gd name="T16" fmla="*/ 259333 w 512"/>
                <a:gd name="T17" fmla="*/ 73690 h 592"/>
                <a:gd name="T18" fmla="*/ 224755 w 512"/>
                <a:gd name="T19" fmla="*/ 117904 h 592"/>
                <a:gd name="T20" fmla="*/ 190178 w 512"/>
                <a:gd name="T21" fmla="*/ 103166 h 592"/>
                <a:gd name="T22" fmla="*/ 103733 w 512"/>
                <a:gd name="T23" fmla="*/ 103166 h 592"/>
                <a:gd name="T24" fmla="*/ 121022 w 512"/>
                <a:gd name="T25" fmla="*/ 132642 h 592"/>
                <a:gd name="T26" fmla="*/ 103733 w 512"/>
                <a:gd name="T27" fmla="*/ 176856 h 592"/>
                <a:gd name="T28" fmla="*/ 34578 w 512"/>
                <a:gd name="T29" fmla="*/ 280022 h 592"/>
                <a:gd name="T30" fmla="*/ 0 w 512"/>
                <a:gd name="T31" fmla="*/ 353712 h 592"/>
                <a:gd name="T32" fmla="*/ 51867 w 512"/>
                <a:gd name="T33" fmla="*/ 427402 h 592"/>
                <a:gd name="T34" fmla="*/ 86444 w 512"/>
                <a:gd name="T35" fmla="*/ 442140 h 592"/>
                <a:gd name="T36" fmla="*/ 155600 w 512"/>
                <a:gd name="T37" fmla="*/ 456878 h 592"/>
                <a:gd name="T38" fmla="*/ 242044 w 512"/>
                <a:gd name="T39" fmla="*/ 412664 h 592"/>
                <a:gd name="T40" fmla="*/ 259333 w 512"/>
                <a:gd name="T41" fmla="*/ 486354 h 592"/>
                <a:gd name="T42" fmla="*/ 397644 w 512"/>
                <a:gd name="T43" fmla="*/ 560045 h 592"/>
                <a:gd name="T44" fmla="*/ 397644 w 512"/>
                <a:gd name="T45" fmla="*/ 589521 h 592"/>
                <a:gd name="T46" fmla="*/ 449511 w 512"/>
                <a:gd name="T47" fmla="*/ 618997 h 592"/>
                <a:gd name="T48" fmla="*/ 466800 w 512"/>
                <a:gd name="T49" fmla="*/ 707425 h 592"/>
                <a:gd name="T50" fmla="*/ 535955 w 512"/>
                <a:gd name="T51" fmla="*/ 766377 h 592"/>
                <a:gd name="T52" fmla="*/ 553244 w 512"/>
                <a:gd name="T53" fmla="*/ 810591 h 592"/>
                <a:gd name="T54" fmla="*/ 587822 w 512"/>
                <a:gd name="T55" fmla="*/ 854805 h 592"/>
                <a:gd name="T56" fmla="*/ 622399 w 512"/>
                <a:gd name="T57" fmla="*/ 899019 h 592"/>
                <a:gd name="T58" fmla="*/ 535955 w 512"/>
                <a:gd name="T59" fmla="*/ 987447 h 592"/>
                <a:gd name="T60" fmla="*/ 587822 w 512"/>
                <a:gd name="T61" fmla="*/ 1016923 h 592"/>
                <a:gd name="T62" fmla="*/ 656977 w 512"/>
                <a:gd name="T63" fmla="*/ 1031661 h 592"/>
                <a:gd name="T64" fmla="*/ 674266 w 512"/>
                <a:gd name="T65" fmla="*/ 1090613 h 592"/>
                <a:gd name="T66" fmla="*/ 726133 w 512"/>
                <a:gd name="T67" fmla="*/ 1016923 h 592"/>
                <a:gd name="T68" fmla="*/ 777999 w 512"/>
                <a:gd name="T69" fmla="*/ 943233 h 592"/>
                <a:gd name="T70" fmla="*/ 812577 w 512"/>
                <a:gd name="T71" fmla="*/ 825329 h 592"/>
                <a:gd name="T72" fmla="*/ 847155 w 512"/>
                <a:gd name="T73" fmla="*/ 810591 h 592"/>
                <a:gd name="T74" fmla="*/ 864444 w 512"/>
                <a:gd name="T75" fmla="*/ 795853 h 592"/>
                <a:gd name="T76" fmla="*/ 933599 w 512"/>
                <a:gd name="T77" fmla="*/ 781115 h 592"/>
                <a:gd name="T78" fmla="*/ 968177 w 512"/>
                <a:gd name="T79" fmla="*/ 751639 h 592"/>
                <a:gd name="T80" fmla="*/ 1002755 w 512"/>
                <a:gd name="T81" fmla="*/ 692687 h 592"/>
                <a:gd name="T82" fmla="*/ 1002755 w 512"/>
                <a:gd name="T83" fmla="*/ 633735 h 592"/>
                <a:gd name="T84" fmla="*/ 1089199 w 512"/>
                <a:gd name="T85" fmla="*/ 412664 h 592"/>
                <a:gd name="T86" fmla="*/ 1106488 w 512"/>
                <a:gd name="T87" fmla="*/ 338974 h 592"/>
                <a:gd name="T88" fmla="*/ 1054621 w 512"/>
                <a:gd name="T89" fmla="*/ 280022 h 592"/>
                <a:gd name="T90" fmla="*/ 916310 w 512"/>
                <a:gd name="T91" fmla="*/ 235808 h 592"/>
                <a:gd name="T92" fmla="*/ 829866 w 512"/>
                <a:gd name="T93" fmla="*/ 221070 h 592"/>
                <a:gd name="T94" fmla="*/ 829866 w 512"/>
                <a:gd name="T95" fmla="*/ 191594 h 592"/>
                <a:gd name="T96" fmla="*/ 795288 w 512"/>
                <a:gd name="T97" fmla="*/ 176856 h 592"/>
                <a:gd name="T98" fmla="*/ 726133 w 512"/>
                <a:gd name="T99" fmla="*/ 162118 h 592"/>
                <a:gd name="T100" fmla="*/ 726133 w 512"/>
                <a:gd name="T101" fmla="*/ 147380 h 592"/>
                <a:gd name="T102" fmla="*/ 656977 w 512"/>
                <a:gd name="T103" fmla="*/ 162118 h 592"/>
                <a:gd name="T104" fmla="*/ 639688 w 512"/>
                <a:gd name="T105" fmla="*/ 176856 h 592"/>
                <a:gd name="T106" fmla="*/ 674266 w 512"/>
                <a:gd name="T107" fmla="*/ 117904 h 592"/>
                <a:gd name="T108" fmla="*/ 656977 w 512"/>
                <a:gd name="T109" fmla="*/ 88428 h 592"/>
                <a:gd name="T110" fmla="*/ 622399 w 512"/>
                <a:gd name="T111" fmla="*/ 29476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12"/>
                <a:gd name="T169" fmla="*/ 0 h 592"/>
                <a:gd name="T170" fmla="*/ 512 w 512"/>
                <a:gd name="T171" fmla="*/ 592 h 5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12" h="592">
                  <a:moveTo>
                    <a:pt x="288" y="16"/>
                  </a:moveTo>
                  <a:lnTo>
                    <a:pt x="272" y="48"/>
                  </a:lnTo>
                  <a:lnTo>
                    <a:pt x="256" y="48"/>
                  </a:lnTo>
                  <a:lnTo>
                    <a:pt x="232" y="40"/>
                  </a:lnTo>
                  <a:lnTo>
                    <a:pt x="232" y="48"/>
                  </a:lnTo>
                  <a:lnTo>
                    <a:pt x="224" y="48"/>
                  </a:lnTo>
                  <a:lnTo>
                    <a:pt x="216" y="48"/>
                  </a:lnTo>
                  <a:lnTo>
                    <a:pt x="192" y="56"/>
                  </a:lnTo>
                  <a:lnTo>
                    <a:pt x="184" y="56"/>
                  </a:lnTo>
                  <a:lnTo>
                    <a:pt x="176" y="40"/>
                  </a:lnTo>
                  <a:lnTo>
                    <a:pt x="184" y="16"/>
                  </a:lnTo>
                  <a:lnTo>
                    <a:pt x="176" y="0"/>
                  </a:lnTo>
                  <a:lnTo>
                    <a:pt x="168" y="0"/>
                  </a:lnTo>
                  <a:lnTo>
                    <a:pt x="168" y="8"/>
                  </a:lnTo>
                  <a:lnTo>
                    <a:pt x="136" y="24"/>
                  </a:lnTo>
                  <a:lnTo>
                    <a:pt x="112" y="16"/>
                  </a:lnTo>
                  <a:lnTo>
                    <a:pt x="120" y="24"/>
                  </a:lnTo>
                  <a:lnTo>
                    <a:pt x="120" y="40"/>
                  </a:lnTo>
                  <a:lnTo>
                    <a:pt x="128" y="48"/>
                  </a:lnTo>
                  <a:lnTo>
                    <a:pt x="104" y="64"/>
                  </a:lnTo>
                  <a:lnTo>
                    <a:pt x="88" y="64"/>
                  </a:lnTo>
                  <a:lnTo>
                    <a:pt x="88" y="56"/>
                  </a:lnTo>
                  <a:lnTo>
                    <a:pt x="80" y="48"/>
                  </a:lnTo>
                  <a:lnTo>
                    <a:pt x="48" y="56"/>
                  </a:lnTo>
                  <a:lnTo>
                    <a:pt x="48" y="64"/>
                  </a:lnTo>
                  <a:lnTo>
                    <a:pt x="56" y="72"/>
                  </a:lnTo>
                  <a:lnTo>
                    <a:pt x="40" y="72"/>
                  </a:lnTo>
                  <a:lnTo>
                    <a:pt x="48" y="96"/>
                  </a:lnTo>
                  <a:lnTo>
                    <a:pt x="48" y="144"/>
                  </a:lnTo>
                  <a:lnTo>
                    <a:pt x="16" y="152"/>
                  </a:lnTo>
                  <a:lnTo>
                    <a:pt x="8" y="168"/>
                  </a:lnTo>
                  <a:lnTo>
                    <a:pt x="0" y="192"/>
                  </a:lnTo>
                  <a:lnTo>
                    <a:pt x="8" y="216"/>
                  </a:lnTo>
                  <a:lnTo>
                    <a:pt x="24" y="232"/>
                  </a:lnTo>
                  <a:lnTo>
                    <a:pt x="40" y="224"/>
                  </a:lnTo>
                  <a:lnTo>
                    <a:pt x="40" y="240"/>
                  </a:lnTo>
                  <a:lnTo>
                    <a:pt x="56" y="240"/>
                  </a:lnTo>
                  <a:lnTo>
                    <a:pt x="72" y="248"/>
                  </a:lnTo>
                  <a:lnTo>
                    <a:pt x="88" y="224"/>
                  </a:lnTo>
                  <a:lnTo>
                    <a:pt x="112" y="224"/>
                  </a:lnTo>
                  <a:lnTo>
                    <a:pt x="112" y="248"/>
                  </a:lnTo>
                  <a:lnTo>
                    <a:pt x="120" y="264"/>
                  </a:lnTo>
                  <a:lnTo>
                    <a:pt x="176" y="288"/>
                  </a:lnTo>
                  <a:lnTo>
                    <a:pt x="184" y="304"/>
                  </a:lnTo>
                  <a:lnTo>
                    <a:pt x="184" y="312"/>
                  </a:lnTo>
                  <a:lnTo>
                    <a:pt x="184" y="320"/>
                  </a:lnTo>
                  <a:lnTo>
                    <a:pt x="208" y="328"/>
                  </a:lnTo>
                  <a:lnTo>
                    <a:pt x="208" y="336"/>
                  </a:lnTo>
                  <a:lnTo>
                    <a:pt x="224" y="352"/>
                  </a:lnTo>
                  <a:lnTo>
                    <a:pt x="216" y="384"/>
                  </a:lnTo>
                  <a:lnTo>
                    <a:pt x="224" y="408"/>
                  </a:lnTo>
                  <a:lnTo>
                    <a:pt x="248" y="416"/>
                  </a:lnTo>
                  <a:lnTo>
                    <a:pt x="256" y="416"/>
                  </a:lnTo>
                  <a:lnTo>
                    <a:pt x="256" y="440"/>
                  </a:lnTo>
                  <a:lnTo>
                    <a:pt x="272" y="440"/>
                  </a:lnTo>
                  <a:lnTo>
                    <a:pt x="272" y="464"/>
                  </a:lnTo>
                  <a:lnTo>
                    <a:pt x="280" y="464"/>
                  </a:lnTo>
                  <a:lnTo>
                    <a:pt x="288" y="488"/>
                  </a:lnTo>
                  <a:lnTo>
                    <a:pt x="280" y="496"/>
                  </a:lnTo>
                  <a:lnTo>
                    <a:pt x="248" y="536"/>
                  </a:lnTo>
                  <a:lnTo>
                    <a:pt x="256" y="536"/>
                  </a:lnTo>
                  <a:lnTo>
                    <a:pt x="272" y="552"/>
                  </a:lnTo>
                  <a:lnTo>
                    <a:pt x="272" y="544"/>
                  </a:lnTo>
                  <a:lnTo>
                    <a:pt x="304" y="560"/>
                  </a:lnTo>
                  <a:lnTo>
                    <a:pt x="312" y="576"/>
                  </a:lnTo>
                  <a:lnTo>
                    <a:pt x="312" y="592"/>
                  </a:lnTo>
                  <a:lnTo>
                    <a:pt x="320" y="568"/>
                  </a:lnTo>
                  <a:lnTo>
                    <a:pt x="336" y="552"/>
                  </a:lnTo>
                  <a:lnTo>
                    <a:pt x="344" y="528"/>
                  </a:lnTo>
                  <a:lnTo>
                    <a:pt x="360" y="512"/>
                  </a:lnTo>
                  <a:lnTo>
                    <a:pt x="352" y="472"/>
                  </a:lnTo>
                  <a:lnTo>
                    <a:pt x="376" y="448"/>
                  </a:lnTo>
                  <a:lnTo>
                    <a:pt x="384" y="440"/>
                  </a:lnTo>
                  <a:lnTo>
                    <a:pt x="392" y="440"/>
                  </a:lnTo>
                  <a:lnTo>
                    <a:pt x="392" y="432"/>
                  </a:lnTo>
                  <a:lnTo>
                    <a:pt x="400" y="432"/>
                  </a:lnTo>
                  <a:lnTo>
                    <a:pt x="400" y="424"/>
                  </a:lnTo>
                  <a:lnTo>
                    <a:pt x="432" y="424"/>
                  </a:lnTo>
                  <a:lnTo>
                    <a:pt x="432" y="416"/>
                  </a:lnTo>
                  <a:lnTo>
                    <a:pt x="448" y="408"/>
                  </a:lnTo>
                  <a:lnTo>
                    <a:pt x="448" y="400"/>
                  </a:lnTo>
                  <a:lnTo>
                    <a:pt x="464" y="376"/>
                  </a:lnTo>
                  <a:lnTo>
                    <a:pt x="464" y="352"/>
                  </a:lnTo>
                  <a:lnTo>
                    <a:pt x="464" y="344"/>
                  </a:lnTo>
                  <a:lnTo>
                    <a:pt x="464" y="280"/>
                  </a:lnTo>
                  <a:lnTo>
                    <a:pt x="504" y="224"/>
                  </a:lnTo>
                  <a:lnTo>
                    <a:pt x="512" y="200"/>
                  </a:lnTo>
                  <a:lnTo>
                    <a:pt x="512" y="184"/>
                  </a:lnTo>
                  <a:lnTo>
                    <a:pt x="504" y="160"/>
                  </a:lnTo>
                  <a:lnTo>
                    <a:pt x="488" y="152"/>
                  </a:lnTo>
                  <a:lnTo>
                    <a:pt x="448" y="120"/>
                  </a:lnTo>
                  <a:lnTo>
                    <a:pt x="424" y="128"/>
                  </a:lnTo>
                  <a:lnTo>
                    <a:pt x="400" y="112"/>
                  </a:lnTo>
                  <a:lnTo>
                    <a:pt x="384" y="120"/>
                  </a:lnTo>
                  <a:lnTo>
                    <a:pt x="384" y="112"/>
                  </a:lnTo>
                  <a:lnTo>
                    <a:pt x="384" y="104"/>
                  </a:lnTo>
                  <a:lnTo>
                    <a:pt x="376" y="104"/>
                  </a:lnTo>
                  <a:lnTo>
                    <a:pt x="368" y="96"/>
                  </a:lnTo>
                  <a:lnTo>
                    <a:pt x="344" y="88"/>
                  </a:lnTo>
                  <a:lnTo>
                    <a:pt x="336" y="88"/>
                  </a:lnTo>
                  <a:lnTo>
                    <a:pt x="328" y="104"/>
                  </a:lnTo>
                  <a:lnTo>
                    <a:pt x="336" y="80"/>
                  </a:lnTo>
                  <a:lnTo>
                    <a:pt x="328" y="80"/>
                  </a:lnTo>
                  <a:lnTo>
                    <a:pt x="304" y="88"/>
                  </a:lnTo>
                  <a:lnTo>
                    <a:pt x="304" y="104"/>
                  </a:lnTo>
                  <a:lnTo>
                    <a:pt x="296" y="96"/>
                  </a:lnTo>
                  <a:lnTo>
                    <a:pt x="296" y="80"/>
                  </a:lnTo>
                  <a:lnTo>
                    <a:pt x="312" y="64"/>
                  </a:lnTo>
                  <a:lnTo>
                    <a:pt x="312" y="56"/>
                  </a:lnTo>
                  <a:lnTo>
                    <a:pt x="304" y="48"/>
                  </a:lnTo>
                  <a:lnTo>
                    <a:pt x="296" y="24"/>
                  </a:lnTo>
                  <a:lnTo>
                    <a:pt x="288" y="16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8" name="Freeform 138">
              <a:extLst>
                <a:ext uri="{FF2B5EF4-FFF2-40B4-BE49-F238E27FC236}">
                  <a16:creationId xmlns:a16="http://schemas.microsoft.com/office/drawing/2014/main" id="{21D3DCD4-F612-F6AE-69B3-E629892BC656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3121026" y="6154738"/>
              <a:ext cx="120650" cy="73025"/>
            </a:xfrm>
            <a:custGeom>
              <a:avLst/>
              <a:gdLst>
                <a:gd name="T0" fmla="*/ 0 w 56"/>
                <a:gd name="T1" fmla="*/ 0 h 40"/>
                <a:gd name="T2" fmla="*/ 34471 w 56"/>
                <a:gd name="T3" fmla="*/ 29210 h 40"/>
                <a:gd name="T4" fmla="*/ 120650 w 56"/>
                <a:gd name="T5" fmla="*/ 58420 h 40"/>
                <a:gd name="T6" fmla="*/ 68943 w 56"/>
                <a:gd name="T7" fmla="*/ 73025 h 40"/>
                <a:gd name="T8" fmla="*/ 51707 w 56"/>
                <a:gd name="T9" fmla="*/ 73025 h 40"/>
                <a:gd name="T10" fmla="*/ 0 w 56"/>
                <a:gd name="T11" fmla="*/ 0 h 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6"/>
                <a:gd name="T19" fmla="*/ 0 h 40"/>
                <a:gd name="T20" fmla="*/ 56 w 56"/>
                <a:gd name="T21" fmla="*/ 40 h 4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6" h="40">
                  <a:moveTo>
                    <a:pt x="0" y="0"/>
                  </a:moveTo>
                  <a:lnTo>
                    <a:pt x="16" y="16"/>
                  </a:lnTo>
                  <a:lnTo>
                    <a:pt x="56" y="32"/>
                  </a:lnTo>
                  <a:lnTo>
                    <a:pt x="32" y="40"/>
                  </a:lnTo>
                  <a:lnTo>
                    <a:pt x="24" y="4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9" name="Freeform 139">
              <a:extLst>
                <a:ext uri="{FF2B5EF4-FFF2-40B4-BE49-F238E27FC236}">
                  <a16:creationId xmlns:a16="http://schemas.microsoft.com/office/drawing/2014/main" id="{BE606574-E35E-5504-B09C-8395319B06CE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3016251" y="6154738"/>
              <a:ext cx="155575" cy="73025"/>
            </a:xfrm>
            <a:custGeom>
              <a:avLst/>
              <a:gdLst>
                <a:gd name="T0" fmla="*/ 103717 w 72"/>
                <a:gd name="T1" fmla="*/ 0 h 40"/>
                <a:gd name="T2" fmla="*/ 69144 w 72"/>
                <a:gd name="T3" fmla="*/ 0 h 40"/>
                <a:gd name="T4" fmla="*/ 86431 w 72"/>
                <a:gd name="T5" fmla="*/ 14605 h 40"/>
                <a:gd name="T6" fmla="*/ 103717 w 72"/>
                <a:gd name="T7" fmla="*/ 14605 h 40"/>
                <a:gd name="T8" fmla="*/ 86431 w 72"/>
                <a:gd name="T9" fmla="*/ 29210 h 40"/>
                <a:gd name="T10" fmla="*/ 86431 w 72"/>
                <a:gd name="T11" fmla="*/ 43815 h 40"/>
                <a:gd name="T12" fmla="*/ 0 w 72"/>
                <a:gd name="T13" fmla="*/ 14605 h 40"/>
                <a:gd name="T14" fmla="*/ 0 w 72"/>
                <a:gd name="T15" fmla="*/ 29210 h 40"/>
                <a:gd name="T16" fmla="*/ 17286 w 72"/>
                <a:gd name="T17" fmla="*/ 43815 h 40"/>
                <a:gd name="T18" fmla="*/ 34572 w 72"/>
                <a:gd name="T19" fmla="*/ 43815 h 40"/>
                <a:gd name="T20" fmla="*/ 86431 w 72"/>
                <a:gd name="T21" fmla="*/ 58420 h 40"/>
                <a:gd name="T22" fmla="*/ 121003 w 72"/>
                <a:gd name="T23" fmla="*/ 58420 h 40"/>
                <a:gd name="T24" fmla="*/ 121003 w 72"/>
                <a:gd name="T25" fmla="*/ 73025 h 40"/>
                <a:gd name="T26" fmla="*/ 155575 w 72"/>
                <a:gd name="T27" fmla="*/ 73025 h 40"/>
                <a:gd name="T28" fmla="*/ 103717 w 72"/>
                <a:gd name="T29" fmla="*/ 0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2"/>
                <a:gd name="T46" fmla="*/ 0 h 40"/>
                <a:gd name="T47" fmla="*/ 72 w 72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2" h="40">
                  <a:moveTo>
                    <a:pt x="48" y="0"/>
                  </a:moveTo>
                  <a:lnTo>
                    <a:pt x="32" y="0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40" y="16"/>
                  </a:lnTo>
                  <a:lnTo>
                    <a:pt x="40" y="24"/>
                  </a:lnTo>
                  <a:lnTo>
                    <a:pt x="0" y="8"/>
                  </a:lnTo>
                  <a:lnTo>
                    <a:pt x="0" y="16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40" y="32"/>
                  </a:lnTo>
                  <a:lnTo>
                    <a:pt x="56" y="32"/>
                  </a:lnTo>
                  <a:lnTo>
                    <a:pt x="56" y="40"/>
                  </a:lnTo>
                  <a:lnTo>
                    <a:pt x="72" y="40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0" name="Freeform 140">
              <a:extLst>
                <a:ext uri="{FF2B5EF4-FFF2-40B4-BE49-F238E27FC236}">
                  <a16:creationId xmlns:a16="http://schemas.microsoft.com/office/drawing/2014/main" id="{EA626547-0242-45C0-DDBD-AF4CC7D17596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428876" y="4692651"/>
              <a:ext cx="381000" cy="501650"/>
            </a:xfrm>
            <a:custGeom>
              <a:avLst/>
              <a:gdLst>
                <a:gd name="T0" fmla="*/ 17318 w 176"/>
                <a:gd name="T1" fmla="*/ 88526 h 272"/>
                <a:gd name="T2" fmla="*/ 0 w 176"/>
                <a:gd name="T3" fmla="*/ 118035 h 272"/>
                <a:gd name="T4" fmla="*/ 17318 w 176"/>
                <a:gd name="T5" fmla="*/ 162299 h 272"/>
                <a:gd name="T6" fmla="*/ 0 w 176"/>
                <a:gd name="T7" fmla="*/ 162299 h 272"/>
                <a:gd name="T8" fmla="*/ 34636 w 176"/>
                <a:gd name="T9" fmla="*/ 191807 h 272"/>
                <a:gd name="T10" fmla="*/ 69273 w 176"/>
                <a:gd name="T11" fmla="*/ 236071 h 272"/>
                <a:gd name="T12" fmla="*/ 173182 w 176"/>
                <a:gd name="T13" fmla="*/ 413123 h 272"/>
                <a:gd name="T14" fmla="*/ 329045 w 176"/>
                <a:gd name="T15" fmla="*/ 501650 h 272"/>
                <a:gd name="T16" fmla="*/ 363682 w 176"/>
                <a:gd name="T17" fmla="*/ 486896 h 272"/>
                <a:gd name="T18" fmla="*/ 381000 w 176"/>
                <a:gd name="T19" fmla="*/ 457387 h 272"/>
                <a:gd name="T20" fmla="*/ 363682 w 176"/>
                <a:gd name="T21" fmla="*/ 442632 h 272"/>
                <a:gd name="T22" fmla="*/ 363682 w 176"/>
                <a:gd name="T23" fmla="*/ 339351 h 272"/>
                <a:gd name="T24" fmla="*/ 346364 w 176"/>
                <a:gd name="T25" fmla="*/ 295088 h 272"/>
                <a:gd name="T26" fmla="*/ 311727 w 176"/>
                <a:gd name="T27" fmla="*/ 295088 h 272"/>
                <a:gd name="T28" fmla="*/ 311727 w 176"/>
                <a:gd name="T29" fmla="*/ 265579 h 272"/>
                <a:gd name="T30" fmla="*/ 277091 w 176"/>
                <a:gd name="T31" fmla="*/ 280334 h 272"/>
                <a:gd name="T32" fmla="*/ 242455 w 176"/>
                <a:gd name="T33" fmla="*/ 250825 h 272"/>
                <a:gd name="T34" fmla="*/ 225136 w 176"/>
                <a:gd name="T35" fmla="*/ 206562 h 272"/>
                <a:gd name="T36" fmla="*/ 242455 w 176"/>
                <a:gd name="T37" fmla="*/ 162299 h 272"/>
                <a:gd name="T38" fmla="*/ 259773 w 176"/>
                <a:gd name="T39" fmla="*/ 132790 h 272"/>
                <a:gd name="T40" fmla="*/ 329045 w 176"/>
                <a:gd name="T41" fmla="*/ 118035 h 272"/>
                <a:gd name="T42" fmla="*/ 311727 w 176"/>
                <a:gd name="T43" fmla="*/ 103281 h 272"/>
                <a:gd name="T44" fmla="*/ 311727 w 176"/>
                <a:gd name="T45" fmla="*/ 73772 h 272"/>
                <a:gd name="T46" fmla="*/ 294409 w 176"/>
                <a:gd name="T47" fmla="*/ 59018 h 272"/>
                <a:gd name="T48" fmla="*/ 225136 w 176"/>
                <a:gd name="T49" fmla="*/ 73772 h 272"/>
                <a:gd name="T50" fmla="*/ 207818 w 176"/>
                <a:gd name="T51" fmla="*/ 29509 h 272"/>
                <a:gd name="T52" fmla="*/ 173182 w 176"/>
                <a:gd name="T53" fmla="*/ 0 h 272"/>
                <a:gd name="T54" fmla="*/ 155864 w 176"/>
                <a:gd name="T55" fmla="*/ 0 h 272"/>
                <a:gd name="T56" fmla="*/ 173182 w 176"/>
                <a:gd name="T57" fmla="*/ 29509 h 272"/>
                <a:gd name="T58" fmla="*/ 155864 w 176"/>
                <a:gd name="T59" fmla="*/ 44263 h 272"/>
                <a:gd name="T60" fmla="*/ 138545 w 176"/>
                <a:gd name="T61" fmla="*/ 73772 h 272"/>
                <a:gd name="T62" fmla="*/ 86591 w 176"/>
                <a:gd name="T63" fmla="*/ 88526 h 272"/>
                <a:gd name="T64" fmla="*/ 51955 w 176"/>
                <a:gd name="T65" fmla="*/ 132790 h 272"/>
                <a:gd name="T66" fmla="*/ 17318 w 176"/>
                <a:gd name="T67" fmla="*/ 118035 h 272"/>
                <a:gd name="T68" fmla="*/ 17318 w 176"/>
                <a:gd name="T69" fmla="*/ 88526 h 2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6"/>
                <a:gd name="T106" fmla="*/ 0 h 272"/>
                <a:gd name="T107" fmla="*/ 176 w 176"/>
                <a:gd name="T108" fmla="*/ 272 h 2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6" h="272">
                  <a:moveTo>
                    <a:pt x="8" y="48"/>
                  </a:moveTo>
                  <a:lnTo>
                    <a:pt x="0" y="64"/>
                  </a:lnTo>
                  <a:lnTo>
                    <a:pt x="8" y="88"/>
                  </a:lnTo>
                  <a:lnTo>
                    <a:pt x="0" y="88"/>
                  </a:lnTo>
                  <a:lnTo>
                    <a:pt x="16" y="104"/>
                  </a:lnTo>
                  <a:lnTo>
                    <a:pt x="32" y="128"/>
                  </a:lnTo>
                  <a:lnTo>
                    <a:pt x="80" y="224"/>
                  </a:lnTo>
                  <a:lnTo>
                    <a:pt x="152" y="272"/>
                  </a:lnTo>
                  <a:lnTo>
                    <a:pt x="168" y="264"/>
                  </a:lnTo>
                  <a:lnTo>
                    <a:pt x="176" y="248"/>
                  </a:lnTo>
                  <a:lnTo>
                    <a:pt x="168" y="240"/>
                  </a:lnTo>
                  <a:lnTo>
                    <a:pt x="168" y="184"/>
                  </a:lnTo>
                  <a:lnTo>
                    <a:pt x="160" y="160"/>
                  </a:lnTo>
                  <a:lnTo>
                    <a:pt x="144" y="160"/>
                  </a:lnTo>
                  <a:lnTo>
                    <a:pt x="144" y="144"/>
                  </a:lnTo>
                  <a:lnTo>
                    <a:pt x="128" y="152"/>
                  </a:lnTo>
                  <a:lnTo>
                    <a:pt x="112" y="136"/>
                  </a:lnTo>
                  <a:lnTo>
                    <a:pt x="104" y="112"/>
                  </a:lnTo>
                  <a:lnTo>
                    <a:pt x="112" y="88"/>
                  </a:lnTo>
                  <a:lnTo>
                    <a:pt x="120" y="72"/>
                  </a:lnTo>
                  <a:lnTo>
                    <a:pt x="152" y="64"/>
                  </a:lnTo>
                  <a:lnTo>
                    <a:pt x="144" y="56"/>
                  </a:lnTo>
                  <a:lnTo>
                    <a:pt x="144" y="40"/>
                  </a:lnTo>
                  <a:lnTo>
                    <a:pt x="136" y="32"/>
                  </a:lnTo>
                  <a:lnTo>
                    <a:pt x="104" y="40"/>
                  </a:lnTo>
                  <a:lnTo>
                    <a:pt x="96" y="16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80" y="16"/>
                  </a:lnTo>
                  <a:lnTo>
                    <a:pt x="72" y="24"/>
                  </a:lnTo>
                  <a:lnTo>
                    <a:pt x="64" y="40"/>
                  </a:lnTo>
                  <a:lnTo>
                    <a:pt x="40" y="48"/>
                  </a:lnTo>
                  <a:lnTo>
                    <a:pt x="24" y="72"/>
                  </a:lnTo>
                  <a:lnTo>
                    <a:pt x="8" y="64"/>
                  </a:lnTo>
                  <a:lnTo>
                    <a:pt x="8" y="4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" name="Freeform 141">
              <a:extLst>
                <a:ext uri="{FF2B5EF4-FFF2-40B4-BE49-F238E27FC236}">
                  <a16:creationId xmlns:a16="http://schemas.microsoft.com/office/drawing/2014/main" id="{7018FDF2-8616-E17A-8C1A-2AA8A4ED22D3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428876" y="4649788"/>
              <a:ext cx="173038" cy="176213"/>
            </a:xfrm>
            <a:custGeom>
              <a:avLst/>
              <a:gdLst>
                <a:gd name="T0" fmla="*/ 17304 w 80"/>
                <a:gd name="T1" fmla="*/ 132160 h 96"/>
                <a:gd name="T2" fmla="*/ 17304 w 80"/>
                <a:gd name="T3" fmla="*/ 161529 h 96"/>
                <a:gd name="T4" fmla="*/ 51911 w 80"/>
                <a:gd name="T5" fmla="*/ 176213 h 96"/>
                <a:gd name="T6" fmla="*/ 86519 w 80"/>
                <a:gd name="T7" fmla="*/ 132160 h 96"/>
                <a:gd name="T8" fmla="*/ 138430 w 80"/>
                <a:gd name="T9" fmla="*/ 117475 h 96"/>
                <a:gd name="T10" fmla="*/ 155734 w 80"/>
                <a:gd name="T11" fmla="*/ 88107 h 96"/>
                <a:gd name="T12" fmla="*/ 173038 w 80"/>
                <a:gd name="T13" fmla="*/ 73422 h 96"/>
                <a:gd name="T14" fmla="*/ 155734 w 80"/>
                <a:gd name="T15" fmla="*/ 44053 h 96"/>
                <a:gd name="T16" fmla="*/ 173038 w 80"/>
                <a:gd name="T17" fmla="*/ 44053 h 96"/>
                <a:gd name="T18" fmla="*/ 155734 w 80"/>
                <a:gd name="T19" fmla="*/ 29369 h 96"/>
                <a:gd name="T20" fmla="*/ 103823 w 80"/>
                <a:gd name="T21" fmla="*/ 44053 h 96"/>
                <a:gd name="T22" fmla="*/ 69215 w 80"/>
                <a:gd name="T23" fmla="*/ 0 h 96"/>
                <a:gd name="T24" fmla="*/ 34608 w 80"/>
                <a:gd name="T25" fmla="*/ 29369 h 96"/>
                <a:gd name="T26" fmla="*/ 34608 w 80"/>
                <a:gd name="T27" fmla="*/ 44053 h 96"/>
                <a:gd name="T28" fmla="*/ 17304 w 80"/>
                <a:gd name="T29" fmla="*/ 44053 h 96"/>
                <a:gd name="T30" fmla="*/ 17304 w 80"/>
                <a:gd name="T31" fmla="*/ 58738 h 96"/>
                <a:gd name="T32" fmla="*/ 0 w 80"/>
                <a:gd name="T33" fmla="*/ 73422 h 96"/>
                <a:gd name="T34" fmla="*/ 0 w 80"/>
                <a:gd name="T35" fmla="*/ 102791 h 96"/>
                <a:gd name="T36" fmla="*/ 34608 w 80"/>
                <a:gd name="T37" fmla="*/ 132160 h 96"/>
                <a:gd name="T38" fmla="*/ 34608 w 80"/>
                <a:gd name="T39" fmla="*/ 117475 h 96"/>
                <a:gd name="T40" fmla="*/ 34608 w 80"/>
                <a:gd name="T41" fmla="*/ 132160 h 96"/>
                <a:gd name="T42" fmla="*/ 17304 w 80"/>
                <a:gd name="T43" fmla="*/ 132160 h 9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0"/>
                <a:gd name="T67" fmla="*/ 0 h 96"/>
                <a:gd name="T68" fmla="*/ 80 w 80"/>
                <a:gd name="T69" fmla="*/ 96 h 9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0" h="96">
                  <a:moveTo>
                    <a:pt x="8" y="72"/>
                  </a:moveTo>
                  <a:lnTo>
                    <a:pt x="8" y="88"/>
                  </a:lnTo>
                  <a:lnTo>
                    <a:pt x="24" y="96"/>
                  </a:lnTo>
                  <a:lnTo>
                    <a:pt x="40" y="72"/>
                  </a:lnTo>
                  <a:lnTo>
                    <a:pt x="64" y="64"/>
                  </a:lnTo>
                  <a:lnTo>
                    <a:pt x="72" y="48"/>
                  </a:lnTo>
                  <a:lnTo>
                    <a:pt x="80" y="40"/>
                  </a:lnTo>
                  <a:lnTo>
                    <a:pt x="72" y="24"/>
                  </a:lnTo>
                  <a:lnTo>
                    <a:pt x="80" y="24"/>
                  </a:lnTo>
                  <a:lnTo>
                    <a:pt x="72" y="16"/>
                  </a:lnTo>
                  <a:lnTo>
                    <a:pt x="48" y="24"/>
                  </a:lnTo>
                  <a:lnTo>
                    <a:pt x="32" y="0"/>
                  </a:lnTo>
                  <a:lnTo>
                    <a:pt x="16" y="16"/>
                  </a:lnTo>
                  <a:lnTo>
                    <a:pt x="16" y="24"/>
                  </a:lnTo>
                  <a:lnTo>
                    <a:pt x="8" y="24"/>
                  </a:lnTo>
                  <a:lnTo>
                    <a:pt x="8" y="32"/>
                  </a:lnTo>
                  <a:lnTo>
                    <a:pt x="0" y="40"/>
                  </a:lnTo>
                  <a:lnTo>
                    <a:pt x="0" y="5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72"/>
                  </a:lnTo>
                  <a:lnTo>
                    <a:pt x="8" y="7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" name="Freeform 142">
              <a:extLst>
                <a:ext uri="{FF2B5EF4-FFF2-40B4-BE49-F238E27FC236}">
                  <a16:creationId xmlns:a16="http://schemas.microsoft.com/office/drawing/2014/main" id="{CE3E5215-CF2A-E554-9C2F-F56835175F1F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481263" y="4338638"/>
              <a:ext cx="361950" cy="473075"/>
            </a:xfrm>
            <a:custGeom>
              <a:avLst/>
              <a:gdLst>
                <a:gd name="T0" fmla="*/ 17236 w 168"/>
                <a:gd name="T1" fmla="*/ 310455 h 256"/>
                <a:gd name="T2" fmla="*/ 0 w 168"/>
                <a:gd name="T3" fmla="*/ 310455 h 256"/>
                <a:gd name="T4" fmla="*/ 17236 w 168"/>
                <a:gd name="T5" fmla="*/ 310455 h 256"/>
                <a:gd name="T6" fmla="*/ 34471 w 168"/>
                <a:gd name="T7" fmla="*/ 280888 h 256"/>
                <a:gd name="T8" fmla="*/ 51707 w 168"/>
                <a:gd name="T9" fmla="*/ 280888 h 256"/>
                <a:gd name="T10" fmla="*/ 68943 w 168"/>
                <a:gd name="T11" fmla="*/ 251321 h 256"/>
                <a:gd name="T12" fmla="*/ 51707 w 168"/>
                <a:gd name="T13" fmla="*/ 236538 h 256"/>
                <a:gd name="T14" fmla="*/ 51707 w 168"/>
                <a:gd name="T15" fmla="*/ 162620 h 256"/>
                <a:gd name="T16" fmla="*/ 51707 w 168"/>
                <a:gd name="T17" fmla="*/ 147836 h 256"/>
                <a:gd name="T18" fmla="*/ 68943 w 168"/>
                <a:gd name="T19" fmla="*/ 133052 h 256"/>
                <a:gd name="T20" fmla="*/ 68943 w 168"/>
                <a:gd name="T21" fmla="*/ 118269 h 256"/>
                <a:gd name="T22" fmla="*/ 86179 w 168"/>
                <a:gd name="T23" fmla="*/ 133052 h 256"/>
                <a:gd name="T24" fmla="*/ 86179 w 168"/>
                <a:gd name="T25" fmla="*/ 118269 h 256"/>
                <a:gd name="T26" fmla="*/ 120650 w 168"/>
                <a:gd name="T27" fmla="*/ 88702 h 256"/>
                <a:gd name="T28" fmla="*/ 120650 w 168"/>
                <a:gd name="T29" fmla="*/ 44351 h 256"/>
                <a:gd name="T30" fmla="*/ 155121 w 168"/>
                <a:gd name="T31" fmla="*/ 44351 h 256"/>
                <a:gd name="T32" fmla="*/ 172357 w 168"/>
                <a:gd name="T33" fmla="*/ 44351 h 256"/>
                <a:gd name="T34" fmla="*/ 241300 w 168"/>
                <a:gd name="T35" fmla="*/ 0 h 256"/>
                <a:gd name="T36" fmla="*/ 241300 w 168"/>
                <a:gd name="T37" fmla="*/ 14784 h 256"/>
                <a:gd name="T38" fmla="*/ 224064 w 168"/>
                <a:gd name="T39" fmla="*/ 29567 h 256"/>
                <a:gd name="T40" fmla="*/ 206829 w 168"/>
                <a:gd name="T41" fmla="*/ 44351 h 256"/>
                <a:gd name="T42" fmla="*/ 189593 w 168"/>
                <a:gd name="T43" fmla="*/ 88702 h 256"/>
                <a:gd name="T44" fmla="*/ 206829 w 168"/>
                <a:gd name="T45" fmla="*/ 133052 h 256"/>
                <a:gd name="T46" fmla="*/ 206829 w 168"/>
                <a:gd name="T47" fmla="*/ 147836 h 256"/>
                <a:gd name="T48" fmla="*/ 224064 w 168"/>
                <a:gd name="T49" fmla="*/ 147836 h 256"/>
                <a:gd name="T50" fmla="*/ 275771 w 168"/>
                <a:gd name="T51" fmla="*/ 162620 h 256"/>
                <a:gd name="T52" fmla="*/ 293007 w 168"/>
                <a:gd name="T53" fmla="*/ 177403 h 256"/>
                <a:gd name="T54" fmla="*/ 344714 w 168"/>
                <a:gd name="T55" fmla="*/ 177403 h 256"/>
                <a:gd name="T56" fmla="*/ 327479 w 168"/>
                <a:gd name="T57" fmla="*/ 221754 h 256"/>
                <a:gd name="T58" fmla="*/ 344714 w 168"/>
                <a:gd name="T59" fmla="*/ 266105 h 256"/>
                <a:gd name="T60" fmla="*/ 327479 w 168"/>
                <a:gd name="T61" fmla="*/ 266105 h 256"/>
                <a:gd name="T62" fmla="*/ 361950 w 168"/>
                <a:gd name="T63" fmla="*/ 310455 h 256"/>
                <a:gd name="T64" fmla="*/ 344714 w 168"/>
                <a:gd name="T65" fmla="*/ 295672 h 256"/>
                <a:gd name="T66" fmla="*/ 275771 w 168"/>
                <a:gd name="T67" fmla="*/ 310455 h 256"/>
                <a:gd name="T68" fmla="*/ 275771 w 168"/>
                <a:gd name="T69" fmla="*/ 325239 h 256"/>
                <a:gd name="T70" fmla="*/ 293007 w 168"/>
                <a:gd name="T71" fmla="*/ 340023 h 256"/>
                <a:gd name="T72" fmla="*/ 258536 w 168"/>
                <a:gd name="T73" fmla="*/ 340023 h 256"/>
                <a:gd name="T74" fmla="*/ 275771 w 168"/>
                <a:gd name="T75" fmla="*/ 384373 h 256"/>
                <a:gd name="T76" fmla="*/ 275771 w 168"/>
                <a:gd name="T77" fmla="*/ 473075 h 256"/>
                <a:gd name="T78" fmla="*/ 258536 w 168"/>
                <a:gd name="T79" fmla="*/ 458291 h 256"/>
                <a:gd name="T80" fmla="*/ 258536 w 168"/>
                <a:gd name="T81" fmla="*/ 428724 h 256"/>
                <a:gd name="T82" fmla="*/ 241300 w 168"/>
                <a:gd name="T83" fmla="*/ 413941 h 256"/>
                <a:gd name="T84" fmla="*/ 172357 w 168"/>
                <a:gd name="T85" fmla="*/ 428724 h 256"/>
                <a:gd name="T86" fmla="*/ 155121 w 168"/>
                <a:gd name="T87" fmla="*/ 384373 h 256"/>
                <a:gd name="T88" fmla="*/ 120650 w 168"/>
                <a:gd name="T89" fmla="*/ 354806 h 256"/>
                <a:gd name="T90" fmla="*/ 103414 w 168"/>
                <a:gd name="T91" fmla="*/ 340023 h 256"/>
                <a:gd name="T92" fmla="*/ 51707 w 168"/>
                <a:gd name="T93" fmla="*/ 354806 h 256"/>
                <a:gd name="T94" fmla="*/ 17236 w 168"/>
                <a:gd name="T95" fmla="*/ 310455 h 25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68"/>
                <a:gd name="T145" fmla="*/ 0 h 256"/>
                <a:gd name="T146" fmla="*/ 168 w 168"/>
                <a:gd name="T147" fmla="*/ 256 h 25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68" h="256">
                  <a:moveTo>
                    <a:pt x="8" y="168"/>
                  </a:moveTo>
                  <a:lnTo>
                    <a:pt x="0" y="168"/>
                  </a:lnTo>
                  <a:lnTo>
                    <a:pt x="8" y="168"/>
                  </a:lnTo>
                  <a:lnTo>
                    <a:pt x="16" y="152"/>
                  </a:lnTo>
                  <a:lnTo>
                    <a:pt x="24" y="152"/>
                  </a:lnTo>
                  <a:lnTo>
                    <a:pt x="32" y="136"/>
                  </a:lnTo>
                  <a:lnTo>
                    <a:pt x="24" y="128"/>
                  </a:lnTo>
                  <a:lnTo>
                    <a:pt x="24" y="88"/>
                  </a:lnTo>
                  <a:lnTo>
                    <a:pt x="24" y="80"/>
                  </a:lnTo>
                  <a:lnTo>
                    <a:pt x="32" y="72"/>
                  </a:lnTo>
                  <a:lnTo>
                    <a:pt x="32" y="64"/>
                  </a:lnTo>
                  <a:lnTo>
                    <a:pt x="40" y="72"/>
                  </a:lnTo>
                  <a:lnTo>
                    <a:pt x="40" y="64"/>
                  </a:lnTo>
                  <a:lnTo>
                    <a:pt x="56" y="48"/>
                  </a:lnTo>
                  <a:lnTo>
                    <a:pt x="56" y="24"/>
                  </a:lnTo>
                  <a:lnTo>
                    <a:pt x="72" y="24"/>
                  </a:lnTo>
                  <a:lnTo>
                    <a:pt x="80" y="24"/>
                  </a:lnTo>
                  <a:lnTo>
                    <a:pt x="112" y="0"/>
                  </a:lnTo>
                  <a:lnTo>
                    <a:pt x="112" y="8"/>
                  </a:lnTo>
                  <a:lnTo>
                    <a:pt x="104" y="16"/>
                  </a:lnTo>
                  <a:lnTo>
                    <a:pt x="96" y="24"/>
                  </a:lnTo>
                  <a:lnTo>
                    <a:pt x="88" y="48"/>
                  </a:lnTo>
                  <a:lnTo>
                    <a:pt x="96" y="72"/>
                  </a:lnTo>
                  <a:lnTo>
                    <a:pt x="96" y="80"/>
                  </a:lnTo>
                  <a:lnTo>
                    <a:pt x="104" y="80"/>
                  </a:lnTo>
                  <a:lnTo>
                    <a:pt x="128" y="88"/>
                  </a:lnTo>
                  <a:lnTo>
                    <a:pt x="136" y="96"/>
                  </a:lnTo>
                  <a:lnTo>
                    <a:pt x="160" y="96"/>
                  </a:lnTo>
                  <a:lnTo>
                    <a:pt x="152" y="120"/>
                  </a:lnTo>
                  <a:lnTo>
                    <a:pt x="160" y="144"/>
                  </a:lnTo>
                  <a:lnTo>
                    <a:pt x="152" y="144"/>
                  </a:lnTo>
                  <a:lnTo>
                    <a:pt x="168" y="168"/>
                  </a:lnTo>
                  <a:lnTo>
                    <a:pt x="160" y="160"/>
                  </a:lnTo>
                  <a:lnTo>
                    <a:pt x="128" y="168"/>
                  </a:lnTo>
                  <a:lnTo>
                    <a:pt x="128" y="176"/>
                  </a:lnTo>
                  <a:lnTo>
                    <a:pt x="136" y="184"/>
                  </a:lnTo>
                  <a:lnTo>
                    <a:pt x="120" y="184"/>
                  </a:lnTo>
                  <a:lnTo>
                    <a:pt x="128" y="208"/>
                  </a:lnTo>
                  <a:lnTo>
                    <a:pt x="128" y="256"/>
                  </a:lnTo>
                  <a:lnTo>
                    <a:pt x="120" y="248"/>
                  </a:lnTo>
                  <a:lnTo>
                    <a:pt x="120" y="232"/>
                  </a:lnTo>
                  <a:lnTo>
                    <a:pt x="112" y="224"/>
                  </a:lnTo>
                  <a:lnTo>
                    <a:pt x="80" y="232"/>
                  </a:lnTo>
                  <a:lnTo>
                    <a:pt x="72" y="208"/>
                  </a:lnTo>
                  <a:lnTo>
                    <a:pt x="56" y="192"/>
                  </a:lnTo>
                  <a:lnTo>
                    <a:pt x="48" y="184"/>
                  </a:lnTo>
                  <a:lnTo>
                    <a:pt x="24" y="192"/>
                  </a:lnTo>
                  <a:lnTo>
                    <a:pt x="8" y="16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3" name="Freeform 143">
              <a:extLst>
                <a:ext uri="{FF2B5EF4-FFF2-40B4-BE49-F238E27FC236}">
                  <a16:creationId xmlns:a16="http://schemas.microsoft.com/office/drawing/2014/main" id="{2914752C-275B-8FA3-628E-699DED4BFE11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670176" y="4354513"/>
              <a:ext cx="381000" cy="309563"/>
            </a:xfrm>
            <a:custGeom>
              <a:avLst/>
              <a:gdLst>
                <a:gd name="T0" fmla="*/ 381000 w 176"/>
                <a:gd name="T1" fmla="*/ 103188 h 168"/>
                <a:gd name="T2" fmla="*/ 346364 w 176"/>
                <a:gd name="T3" fmla="*/ 117929 h 168"/>
                <a:gd name="T4" fmla="*/ 346364 w 176"/>
                <a:gd name="T5" fmla="*/ 132670 h 168"/>
                <a:gd name="T6" fmla="*/ 363682 w 176"/>
                <a:gd name="T7" fmla="*/ 147411 h 168"/>
                <a:gd name="T8" fmla="*/ 346364 w 176"/>
                <a:gd name="T9" fmla="*/ 147411 h 168"/>
                <a:gd name="T10" fmla="*/ 329045 w 176"/>
                <a:gd name="T11" fmla="*/ 176893 h 168"/>
                <a:gd name="T12" fmla="*/ 346364 w 176"/>
                <a:gd name="T13" fmla="*/ 191634 h 168"/>
                <a:gd name="T14" fmla="*/ 346364 w 176"/>
                <a:gd name="T15" fmla="*/ 206375 h 168"/>
                <a:gd name="T16" fmla="*/ 277091 w 176"/>
                <a:gd name="T17" fmla="*/ 235858 h 168"/>
                <a:gd name="T18" fmla="*/ 225136 w 176"/>
                <a:gd name="T19" fmla="*/ 221116 h 168"/>
                <a:gd name="T20" fmla="*/ 242455 w 176"/>
                <a:gd name="T21" fmla="*/ 235858 h 168"/>
                <a:gd name="T22" fmla="*/ 242455 w 176"/>
                <a:gd name="T23" fmla="*/ 265340 h 168"/>
                <a:gd name="T24" fmla="*/ 259773 w 176"/>
                <a:gd name="T25" fmla="*/ 280081 h 168"/>
                <a:gd name="T26" fmla="*/ 207818 w 176"/>
                <a:gd name="T27" fmla="*/ 309563 h 168"/>
                <a:gd name="T28" fmla="*/ 173182 w 176"/>
                <a:gd name="T29" fmla="*/ 309563 h 168"/>
                <a:gd name="T30" fmla="*/ 173182 w 176"/>
                <a:gd name="T31" fmla="*/ 294822 h 168"/>
                <a:gd name="T32" fmla="*/ 138545 w 176"/>
                <a:gd name="T33" fmla="*/ 250599 h 168"/>
                <a:gd name="T34" fmla="*/ 155864 w 176"/>
                <a:gd name="T35" fmla="*/ 250599 h 168"/>
                <a:gd name="T36" fmla="*/ 138545 w 176"/>
                <a:gd name="T37" fmla="*/ 206375 h 168"/>
                <a:gd name="T38" fmla="*/ 155864 w 176"/>
                <a:gd name="T39" fmla="*/ 162152 h 168"/>
                <a:gd name="T40" fmla="*/ 103909 w 176"/>
                <a:gd name="T41" fmla="*/ 162152 h 168"/>
                <a:gd name="T42" fmla="*/ 86591 w 176"/>
                <a:gd name="T43" fmla="*/ 147411 h 168"/>
                <a:gd name="T44" fmla="*/ 34636 w 176"/>
                <a:gd name="T45" fmla="*/ 132670 h 168"/>
                <a:gd name="T46" fmla="*/ 17318 w 176"/>
                <a:gd name="T47" fmla="*/ 132670 h 168"/>
                <a:gd name="T48" fmla="*/ 17318 w 176"/>
                <a:gd name="T49" fmla="*/ 117929 h 168"/>
                <a:gd name="T50" fmla="*/ 0 w 176"/>
                <a:gd name="T51" fmla="*/ 73705 h 168"/>
                <a:gd name="T52" fmla="*/ 17318 w 176"/>
                <a:gd name="T53" fmla="*/ 29482 h 168"/>
                <a:gd name="T54" fmla="*/ 34636 w 176"/>
                <a:gd name="T55" fmla="*/ 14741 h 168"/>
                <a:gd name="T56" fmla="*/ 51955 w 176"/>
                <a:gd name="T57" fmla="*/ 44223 h 168"/>
                <a:gd name="T58" fmla="*/ 34636 w 176"/>
                <a:gd name="T59" fmla="*/ 58964 h 168"/>
                <a:gd name="T60" fmla="*/ 34636 w 176"/>
                <a:gd name="T61" fmla="*/ 88447 h 168"/>
                <a:gd name="T62" fmla="*/ 51955 w 176"/>
                <a:gd name="T63" fmla="*/ 73705 h 168"/>
                <a:gd name="T64" fmla="*/ 51955 w 176"/>
                <a:gd name="T65" fmla="*/ 29482 h 168"/>
                <a:gd name="T66" fmla="*/ 86591 w 176"/>
                <a:gd name="T67" fmla="*/ 14741 h 168"/>
                <a:gd name="T68" fmla="*/ 86591 w 176"/>
                <a:gd name="T69" fmla="*/ 0 h 168"/>
                <a:gd name="T70" fmla="*/ 103909 w 176"/>
                <a:gd name="T71" fmla="*/ 14741 h 168"/>
                <a:gd name="T72" fmla="*/ 138545 w 176"/>
                <a:gd name="T73" fmla="*/ 29482 h 168"/>
                <a:gd name="T74" fmla="*/ 138545 w 176"/>
                <a:gd name="T75" fmla="*/ 44223 h 168"/>
                <a:gd name="T76" fmla="*/ 190500 w 176"/>
                <a:gd name="T77" fmla="*/ 44223 h 168"/>
                <a:gd name="T78" fmla="*/ 225136 w 176"/>
                <a:gd name="T79" fmla="*/ 58964 h 168"/>
                <a:gd name="T80" fmla="*/ 259773 w 176"/>
                <a:gd name="T81" fmla="*/ 44223 h 168"/>
                <a:gd name="T82" fmla="*/ 311727 w 176"/>
                <a:gd name="T83" fmla="*/ 44223 h 168"/>
                <a:gd name="T84" fmla="*/ 294409 w 176"/>
                <a:gd name="T85" fmla="*/ 44223 h 168"/>
                <a:gd name="T86" fmla="*/ 311727 w 176"/>
                <a:gd name="T87" fmla="*/ 58964 h 168"/>
                <a:gd name="T88" fmla="*/ 346364 w 176"/>
                <a:gd name="T89" fmla="*/ 73705 h 168"/>
                <a:gd name="T90" fmla="*/ 346364 w 176"/>
                <a:gd name="T91" fmla="*/ 103188 h 168"/>
                <a:gd name="T92" fmla="*/ 363682 w 176"/>
                <a:gd name="T93" fmla="*/ 103188 h 168"/>
                <a:gd name="T94" fmla="*/ 381000 w 176"/>
                <a:gd name="T95" fmla="*/ 103188 h 1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76"/>
                <a:gd name="T145" fmla="*/ 0 h 168"/>
                <a:gd name="T146" fmla="*/ 176 w 176"/>
                <a:gd name="T147" fmla="*/ 168 h 1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76" h="168">
                  <a:moveTo>
                    <a:pt x="176" y="56"/>
                  </a:moveTo>
                  <a:lnTo>
                    <a:pt x="160" y="64"/>
                  </a:lnTo>
                  <a:lnTo>
                    <a:pt x="160" y="72"/>
                  </a:lnTo>
                  <a:lnTo>
                    <a:pt x="168" y="80"/>
                  </a:lnTo>
                  <a:lnTo>
                    <a:pt x="160" y="80"/>
                  </a:lnTo>
                  <a:lnTo>
                    <a:pt x="152" y="96"/>
                  </a:lnTo>
                  <a:lnTo>
                    <a:pt x="160" y="104"/>
                  </a:lnTo>
                  <a:lnTo>
                    <a:pt x="160" y="112"/>
                  </a:lnTo>
                  <a:lnTo>
                    <a:pt x="128" y="128"/>
                  </a:lnTo>
                  <a:lnTo>
                    <a:pt x="104" y="120"/>
                  </a:lnTo>
                  <a:lnTo>
                    <a:pt x="112" y="128"/>
                  </a:lnTo>
                  <a:lnTo>
                    <a:pt x="112" y="144"/>
                  </a:lnTo>
                  <a:lnTo>
                    <a:pt x="120" y="152"/>
                  </a:lnTo>
                  <a:lnTo>
                    <a:pt x="96" y="168"/>
                  </a:lnTo>
                  <a:lnTo>
                    <a:pt x="80" y="168"/>
                  </a:lnTo>
                  <a:lnTo>
                    <a:pt x="80" y="160"/>
                  </a:lnTo>
                  <a:lnTo>
                    <a:pt x="64" y="136"/>
                  </a:lnTo>
                  <a:lnTo>
                    <a:pt x="72" y="136"/>
                  </a:lnTo>
                  <a:lnTo>
                    <a:pt x="64" y="112"/>
                  </a:lnTo>
                  <a:lnTo>
                    <a:pt x="72" y="88"/>
                  </a:lnTo>
                  <a:lnTo>
                    <a:pt x="48" y="88"/>
                  </a:lnTo>
                  <a:lnTo>
                    <a:pt x="40" y="80"/>
                  </a:lnTo>
                  <a:lnTo>
                    <a:pt x="16" y="72"/>
                  </a:lnTo>
                  <a:lnTo>
                    <a:pt x="8" y="72"/>
                  </a:lnTo>
                  <a:lnTo>
                    <a:pt x="8" y="64"/>
                  </a:lnTo>
                  <a:lnTo>
                    <a:pt x="0" y="40"/>
                  </a:lnTo>
                  <a:lnTo>
                    <a:pt x="8" y="16"/>
                  </a:lnTo>
                  <a:lnTo>
                    <a:pt x="16" y="8"/>
                  </a:lnTo>
                  <a:lnTo>
                    <a:pt x="24" y="24"/>
                  </a:lnTo>
                  <a:lnTo>
                    <a:pt x="16" y="32"/>
                  </a:lnTo>
                  <a:lnTo>
                    <a:pt x="16" y="48"/>
                  </a:lnTo>
                  <a:lnTo>
                    <a:pt x="24" y="40"/>
                  </a:lnTo>
                  <a:lnTo>
                    <a:pt x="24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48" y="8"/>
                  </a:lnTo>
                  <a:lnTo>
                    <a:pt x="64" y="16"/>
                  </a:lnTo>
                  <a:lnTo>
                    <a:pt x="64" y="24"/>
                  </a:lnTo>
                  <a:lnTo>
                    <a:pt x="88" y="24"/>
                  </a:lnTo>
                  <a:lnTo>
                    <a:pt x="104" y="32"/>
                  </a:lnTo>
                  <a:lnTo>
                    <a:pt x="120" y="24"/>
                  </a:lnTo>
                  <a:lnTo>
                    <a:pt x="144" y="24"/>
                  </a:lnTo>
                  <a:lnTo>
                    <a:pt x="136" y="24"/>
                  </a:lnTo>
                  <a:lnTo>
                    <a:pt x="144" y="32"/>
                  </a:lnTo>
                  <a:lnTo>
                    <a:pt x="160" y="40"/>
                  </a:lnTo>
                  <a:lnTo>
                    <a:pt x="160" y="56"/>
                  </a:lnTo>
                  <a:lnTo>
                    <a:pt x="168" y="56"/>
                  </a:lnTo>
                  <a:lnTo>
                    <a:pt x="176" y="5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4" name="Freeform 144">
              <a:extLst>
                <a:ext uri="{FF2B5EF4-FFF2-40B4-BE49-F238E27FC236}">
                  <a16:creationId xmlns:a16="http://schemas.microsoft.com/office/drawing/2014/main" id="{EAEDEF05-65FE-CF78-8149-029A885400AB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206751" y="4530726"/>
              <a:ext cx="69850" cy="103188"/>
            </a:xfrm>
            <a:custGeom>
              <a:avLst/>
              <a:gdLst>
                <a:gd name="T0" fmla="*/ 69850 w 32"/>
                <a:gd name="T1" fmla="*/ 44223 h 56"/>
                <a:gd name="T2" fmla="*/ 34925 w 32"/>
                <a:gd name="T3" fmla="*/ 103188 h 56"/>
                <a:gd name="T4" fmla="*/ 0 w 32"/>
                <a:gd name="T5" fmla="*/ 103188 h 56"/>
                <a:gd name="T6" fmla="*/ 0 w 32"/>
                <a:gd name="T7" fmla="*/ 58965 h 56"/>
                <a:gd name="T8" fmla="*/ 0 w 32"/>
                <a:gd name="T9" fmla="*/ 29482 h 56"/>
                <a:gd name="T10" fmla="*/ 0 w 32"/>
                <a:gd name="T11" fmla="*/ 0 h 56"/>
                <a:gd name="T12" fmla="*/ 69850 w 32"/>
                <a:gd name="T13" fmla="*/ 44223 h 5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56"/>
                <a:gd name="T23" fmla="*/ 32 w 32"/>
                <a:gd name="T24" fmla="*/ 56 h 5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56">
                  <a:moveTo>
                    <a:pt x="32" y="24"/>
                  </a:moveTo>
                  <a:lnTo>
                    <a:pt x="16" y="56"/>
                  </a:lnTo>
                  <a:lnTo>
                    <a:pt x="0" y="56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0" y="0"/>
                  </a:lnTo>
                  <a:lnTo>
                    <a:pt x="32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5" name="Freeform 145">
              <a:extLst>
                <a:ext uri="{FF2B5EF4-FFF2-40B4-BE49-F238E27FC236}">
                  <a16:creationId xmlns:a16="http://schemas.microsoft.com/office/drawing/2014/main" id="{13D52275-B2A6-A724-A8F4-B41E4D1F2F7D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103563" y="4530726"/>
              <a:ext cx="103188" cy="103188"/>
            </a:xfrm>
            <a:custGeom>
              <a:avLst/>
              <a:gdLst>
                <a:gd name="T0" fmla="*/ 103188 w 48"/>
                <a:gd name="T1" fmla="*/ 0 h 56"/>
                <a:gd name="T2" fmla="*/ 85990 w 48"/>
                <a:gd name="T3" fmla="*/ 0 h 56"/>
                <a:gd name="T4" fmla="*/ 17198 w 48"/>
                <a:gd name="T5" fmla="*/ 0 h 56"/>
                <a:gd name="T6" fmla="*/ 0 w 48"/>
                <a:gd name="T7" fmla="*/ 44223 h 56"/>
                <a:gd name="T8" fmla="*/ 34396 w 48"/>
                <a:gd name="T9" fmla="*/ 103188 h 56"/>
                <a:gd name="T10" fmla="*/ 51594 w 48"/>
                <a:gd name="T11" fmla="*/ 103188 h 56"/>
                <a:gd name="T12" fmla="*/ 51594 w 48"/>
                <a:gd name="T13" fmla="*/ 88447 h 56"/>
                <a:gd name="T14" fmla="*/ 103188 w 48"/>
                <a:gd name="T15" fmla="*/ 103188 h 56"/>
                <a:gd name="T16" fmla="*/ 103188 w 48"/>
                <a:gd name="T17" fmla="*/ 58965 h 56"/>
                <a:gd name="T18" fmla="*/ 103188 w 48"/>
                <a:gd name="T19" fmla="*/ 29482 h 56"/>
                <a:gd name="T20" fmla="*/ 103188 w 48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56"/>
                <a:gd name="T35" fmla="*/ 48 w 48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56">
                  <a:moveTo>
                    <a:pt x="48" y="0"/>
                  </a:moveTo>
                  <a:lnTo>
                    <a:pt x="40" y="0"/>
                  </a:lnTo>
                  <a:lnTo>
                    <a:pt x="8" y="0"/>
                  </a:lnTo>
                  <a:lnTo>
                    <a:pt x="0" y="24"/>
                  </a:lnTo>
                  <a:lnTo>
                    <a:pt x="16" y="56"/>
                  </a:lnTo>
                  <a:lnTo>
                    <a:pt x="24" y="56"/>
                  </a:lnTo>
                  <a:lnTo>
                    <a:pt x="24" y="48"/>
                  </a:lnTo>
                  <a:lnTo>
                    <a:pt x="48" y="56"/>
                  </a:lnTo>
                  <a:lnTo>
                    <a:pt x="48" y="32"/>
                  </a:lnTo>
                  <a:lnTo>
                    <a:pt x="48" y="16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6" name="Freeform 146">
              <a:extLst>
                <a:ext uri="{FF2B5EF4-FFF2-40B4-BE49-F238E27FC236}">
                  <a16:creationId xmlns:a16="http://schemas.microsoft.com/office/drawing/2014/main" id="{A9F7557C-9621-9837-3435-F8423939DB50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757488" y="5180013"/>
              <a:ext cx="346075" cy="1003300"/>
            </a:xfrm>
            <a:custGeom>
              <a:avLst/>
              <a:gdLst>
                <a:gd name="T0" fmla="*/ 34608 w 160"/>
                <a:gd name="T1" fmla="*/ 0 h 544"/>
                <a:gd name="T2" fmla="*/ 69215 w 160"/>
                <a:gd name="T3" fmla="*/ 73772 h 544"/>
                <a:gd name="T4" fmla="*/ 121126 w 160"/>
                <a:gd name="T5" fmla="*/ 147544 h 544"/>
                <a:gd name="T6" fmla="*/ 86519 w 160"/>
                <a:gd name="T7" fmla="*/ 191807 h 544"/>
                <a:gd name="T8" fmla="*/ 86519 w 160"/>
                <a:gd name="T9" fmla="*/ 295088 h 544"/>
                <a:gd name="T10" fmla="*/ 121126 w 160"/>
                <a:gd name="T11" fmla="*/ 457387 h 544"/>
                <a:gd name="T12" fmla="*/ 121126 w 160"/>
                <a:gd name="T13" fmla="*/ 516404 h 544"/>
                <a:gd name="T14" fmla="*/ 138430 w 160"/>
                <a:gd name="T15" fmla="*/ 590176 h 544"/>
                <a:gd name="T16" fmla="*/ 155734 w 160"/>
                <a:gd name="T17" fmla="*/ 678703 h 544"/>
                <a:gd name="T18" fmla="*/ 173038 w 160"/>
                <a:gd name="T19" fmla="*/ 752475 h 544"/>
                <a:gd name="T20" fmla="*/ 190341 w 160"/>
                <a:gd name="T21" fmla="*/ 752475 h 544"/>
                <a:gd name="T22" fmla="*/ 207645 w 160"/>
                <a:gd name="T23" fmla="*/ 900019 h 544"/>
                <a:gd name="T24" fmla="*/ 242252 w 160"/>
                <a:gd name="T25" fmla="*/ 914773 h 544"/>
                <a:gd name="T26" fmla="*/ 346075 w 160"/>
                <a:gd name="T27" fmla="*/ 959037 h 544"/>
                <a:gd name="T28" fmla="*/ 328771 w 160"/>
                <a:gd name="T29" fmla="*/ 973791 h 544"/>
                <a:gd name="T30" fmla="*/ 294164 w 160"/>
                <a:gd name="T31" fmla="*/ 988546 h 544"/>
                <a:gd name="T32" fmla="*/ 311468 w 160"/>
                <a:gd name="T33" fmla="*/ 973791 h 544"/>
                <a:gd name="T34" fmla="*/ 224949 w 160"/>
                <a:gd name="T35" fmla="*/ 959037 h 544"/>
                <a:gd name="T36" fmla="*/ 207645 w 160"/>
                <a:gd name="T37" fmla="*/ 959037 h 544"/>
                <a:gd name="T38" fmla="*/ 224949 w 160"/>
                <a:gd name="T39" fmla="*/ 944282 h 544"/>
                <a:gd name="T40" fmla="*/ 207645 w 160"/>
                <a:gd name="T41" fmla="*/ 944282 h 544"/>
                <a:gd name="T42" fmla="*/ 190341 w 160"/>
                <a:gd name="T43" fmla="*/ 914773 h 544"/>
                <a:gd name="T44" fmla="*/ 173038 w 160"/>
                <a:gd name="T45" fmla="*/ 914773 h 544"/>
                <a:gd name="T46" fmla="*/ 155734 w 160"/>
                <a:gd name="T47" fmla="*/ 900019 h 544"/>
                <a:gd name="T48" fmla="*/ 138430 w 160"/>
                <a:gd name="T49" fmla="*/ 841001 h 544"/>
                <a:gd name="T50" fmla="*/ 155734 w 160"/>
                <a:gd name="T51" fmla="*/ 811493 h 544"/>
                <a:gd name="T52" fmla="*/ 103822 w 160"/>
                <a:gd name="T53" fmla="*/ 811493 h 544"/>
                <a:gd name="T54" fmla="*/ 121126 w 160"/>
                <a:gd name="T55" fmla="*/ 781984 h 544"/>
                <a:gd name="T56" fmla="*/ 121126 w 160"/>
                <a:gd name="T57" fmla="*/ 737720 h 544"/>
                <a:gd name="T58" fmla="*/ 138430 w 160"/>
                <a:gd name="T59" fmla="*/ 767229 h 544"/>
                <a:gd name="T60" fmla="*/ 138430 w 160"/>
                <a:gd name="T61" fmla="*/ 737720 h 544"/>
                <a:gd name="T62" fmla="*/ 103822 w 160"/>
                <a:gd name="T63" fmla="*/ 663948 h 544"/>
                <a:gd name="T64" fmla="*/ 86519 w 160"/>
                <a:gd name="T65" fmla="*/ 649194 h 544"/>
                <a:gd name="T66" fmla="*/ 51911 w 160"/>
                <a:gd name="T67" fmla="*/ 560668 h 544"/>
                <a:gd name="T68" fmla="*/ 69215 w 160"/>
                <a:gd name="T69" fmla="*/ 545913 h 544"/>
                <a:gd name="T70" fmla="*/ 69215 w 160"/>
                <a:gd name="T71" fmla="*/ 413123 h 544"/>
                <a:gd name="T72" fmla="*/ 51911 w 160"/>
                <a:gd name="T73" fmla="*/ 354106 h 544"/>
                <a:gd name="T74" fmla="*/ 51911 w 160"/>
                <a:gd name="T75" fmla="*/ 250825 h 544"/>
                <a:gd name="T76" fmla="*/ 34608 w 160"/>
                <a:gd name="T77" fmla="*/ 118035 h 54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60"/>
                <a:gd name="T118" fmla="*/ 0 h 544"/>
                <a:gd name="T119" fmla="*/ 160 w 160"/>
                <a:gd name="T120" fmla="*/ 544 h 54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60" h="544">
                  <a:moveTo>
                    <a:pt x="0" y="8"/>
                  </a:moveTo>
                  <a:lnTo>
                    <a:pt x="16" y="0"/>
                  </a:lnTo>
                  <a:lnTo>
                    <a:pt x="32" y="24"/>
                  </a:lnTo>
                  <a:lnTo>
                    <a:pt x="32" y="40"/>
                  </a:lnTo>
                  <a:lnTo>
                    <a:pt x="48" y="80"/>
                  </a:lnTo>
                  <a:lnTo>
                    <a:pt x="56" y="80"/>
                  </a:lnTo>
                  <a:lnTo>
                    <a:pt x="56" y="96"/>
                  </a:lnTo>
                  <a:lnTo>
                    <a:pt x="40" y="104"/>
                  </a:lnTo>
                  <a:lnTo>
                    <a:pt x="48" y="136"/>
                  </a:lnTo>
                  <a:lnTo>
                    <a:pt x="40" y="160"/>
                  </a:lnTo>
                  <a:lnTo>
                    <a:pt x="40" y="208"/>
                  </a:lnTo>
                  <a:lnTo>
                    <a:pt x="56" y="248"/>
                  </a:lnTo>
                  <a:lnTo>
                    <a:pt x="48" y="272"/>
                  </a:lnTo>
                  <a:lnTo>
                    <a:pt x="56" y="280"/>
                  </a:lnTo>
                  <a:lnTo>
                    <a:pt x="48" y="296"/>
                  </a:lnTo>
                  <a:lnTo>
                    <a:pt x="64" y="320"/>
                  </a:lnTo>
                  <a:lnTo>
                    <a:pt x="64" y="360"/>
                  </a:lnTo>
                  <a:lnTo>
                    <a:pt x="72" y="368"/>
                  </a:lnTo>
                  <a:lnTo>
                    <a:pt x="72" y="384"/>
                  </a:lnTo>
                  <a:lnTo>
                    <a:pt x="80" y="408"/>
                  </a:lnTo>
                  <a:lnTo>
                    <a:pt x="88" y="416"/>
                  </a:lnTo>
                  <a:lnTo>
                    <a:pt x="88" y="408"/>
                  </a:lnTo>
                  <a:lnTo>
                    <a:pt x="96" y="440"/>
                  </a:lnTo>
                  <a:lnTo>
                    <a:pt x="96" y="488"/>
                  </a:lnTo>
                  <a:lnTo>
                    <a:pt x="104" y="496"/>
                  </a:lnTo>
                  <a:lnTo>
                    <a:pt x="112" y="496"/>
                  </a:lnTo>
                  <a:lnTo>
                    <a:pt x="128" y="520"/>
                  </a:lnTo>
                  <a:lnTo>
                    <a:pt x="160" y="520"/>
                  </a:lnTo>
                  <a:lnTo>
                    <a:pt x="160" y="528"/>
                  </a:lnTo>
                  <a:lnTo>
                    <a:pt x="152" y="528"/>
                  </a:lnTo>
                  <a:lnTo>
                    <a:pt x="152" y="544"/>
                  </a:lnTo>
                  <a:lnTo>
                    <a:pt x="136" y="536"/>
                  </a:lnTo>
                  <a:lnTo>
                    <a:pt x="144" y="536"/>
                  </a:lnTo>
                  <a:lnTo>
                    <a:pt x="144" y="528"/>
                  </a:lnTo>
                  <a:lnTo>
                    <a:pt x="136" y="536"/>
                  </a:lnTo>
                  <a:lnTo>
                    <a:pt x="104" y="520"/>
                  </a:lnTo>
                  <a:lnTo>
                    <a:pt x="104" y="528"/>
                  </a:lnTo>
                  <a:lnTo>
                    <a:pt x="96" y="520"/>
                  </a:lnTo>
                  <a:lnTo>
                    <a:pt x="96" y="512"/>
                  </a:lnTo>
                  <a:lnTo>
                    <a:pt x="104" y="512"/>
                  </a:lnTo>
                  <a:lnTo>
                    <a:pt x="96" y="504"/>
                  </a:lnTo>
                  <a:lnTo>
                    <a:pt x="96" y="512"/>
                  </a:lnTo>
                  <a:lnTo>
                    <a:pt x="88" y="512"/>
                  </a:lnTo>
                  <a:lnTo>
                    <a:pt x="88" y="496"/>
                  </a:lnTo>
                  <a:lnTo>
                    <a:pt x="88" y="488"/>
                  </a:lnTo>
                  <a:lnTo>
                    <a:pt x="80" y="496"/>
                  </a:lnTo>
                  <a:lnTo>
                    <a:pt x="80" y="488"/>
                  </a:lnTo>
                  <a:lnTo>
                    <a:pt x="72" y="488"/>
                  </a:lnTo>
                  <a:lnTo>
                    <a:pt x="64" y="464"/>
                  </a:lnTo>
                  <a:lnTo>
                    <a:pt x="64" y="456"/>
                  </a:lnTo>
                  <a:lnTo>
                    <a:pt x="72" y="464"/>
                  </a:lnTo>
                  <a:lnTo>
                    <a:pt x="72" y="440"/>
                  </a:lnTo>
                  <a:lnTo>
                    <a:pt x="56" y="440"/>
                  </a:lnTo>
                  <a:lnTo>
                    <a:pt x="48" y="440"/>
                  </a:lnTo>
                  <a:lnTo>
                    <a:pt x="56" y="432"/>
                  </a:lnTo>
                  <a:lnTo>
                    <a:pt x="56" y="424"/>
                  </a:lnTo>
                  <a:lnTo>
                    <a:pt x="48" y="400"/>
                  </a:lnTo>
                  <a:lnTo>
                    <a:pt x="56" y="400"/>
                  </a:lnTo>
                  <a:lnTo>
                    <a:pt x="64" y="400"/>
                  </a:lnTo>
                  <a:lnTo>
                    <a:pt x="64" y="416"/>
                  </a:lnTo>
                  <a:lnTo>
                    <a:pt x="64" y="424"/>
                  </a:lnTo>
                  <a:lnTo>
                    <a:pt x="64" y="400"/>
                  </a:lnTo>
                  <a:lnTo>
                    <a:pt x="56" y="368"/>
                  </a:lnTo>
                  <a:lnTo>
                    <a:pt x="48" y="360"/>
                  </a:lnTo>
                  <a:lnTo>
                    <a:pt x="48" y="368"/>
                  </a:lnTo>
                  <a:lnTo>
                    <a:pt x="40" y="352"/>
                  </a:lnTo>
                  <a:lnTo>
                    <a:pt x="40" y="336"/>
                  </a:lnTo>
                  <a:lnTo>
                    <a:pt x="24" y="304"/>
                  </a:lnTo>
                  <a:lnTo>
                    <a:pt x="24" y="296"/>
                  </a:lnTo>
                  <a:lnTo>
                    <a:pt x="32" y="296"/>
                  </a:lnTo>
                  <a:lnTo>
                    <a:pt x="32" y="248"/>
                  </a:lnTo>
                  <a:lnTo>
                    <a:pt x="32" y="224"/>
                  </a:lnTo>
                  <a:lnTo>
                    <a:pt x="16" y="200"/>
                  </a:lnTo>
                  <a:lnTo>
                    <a:pt x="24" y="192"/>
                  </a:lnTo>
                  <a:lnTo>
                    <a:pt x="16" y="176"/>
                  </a:lnTo>
                  <a:lnTo>
                    <a:pt x="24" y="136"/>
                  </a:lnTo>
                  <a:lnTo>
                    <a:pt x="16" y="80"/>
                  </a:lnTo>
                  <a:lnTo>
                    <a:pt x="16" y="64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7" name="Freeform 147">
              <a:extLst>
                <a:ext uri="{FF2B5EF4-FFF2-40B4-BE49-F238E27FC236}">
                  <a16:creationId xmlns:a16="http://schemas.microsoft.com/office/drawing/2014/main" id="{82E2FE4A-B15F-BD71-3BCA-2EA92B4878F1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5056188" y="3365501"/>
              <a:ext cx="3175" cy="14288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14288 h 8"/>
                <a:gd name="T4" fmla="*/ 0 w 2"/>
                <a:gd name="T5" fmla="*/ 0 h 8"/>
                <a:gd name="T6" fmla="*/ 0 60000 65536"/>
                <a:gd name="T7" fmla="*/ 0 60000 65536"/>
                <a:gd name="T8" fmla="*/ 0 60000 65536"/>
                <a:gd name="T9" fmla="*/ 0 w 2"/>
                <a:gd name="T10" fmla="*/ 0 h 8"/>
                <a:gd name="T11" fmla="*/ 2 w 2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8">
                  <a:moveTo>
                    <a:pt x="0" y="0"/>
                  </a:move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8" name="Freeform 148">
              <a:extLst>
                <a:ext uri="{FF2B5EF4-FFF2-40B4-BE49-F238E27FC236}">
                  <a16:creationId xmlns:a16="http://schemas.microsoft.com/office/drawing/2014/main" id="{B960A0E7-27AF-3035-92C6-6D9A121A4E43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5056188" y="3365501"/>
              <a:ext cx="3175" cy="14288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14288 h 8"/>
                <a:gd name="T4" fmla="*/ 0 w 2"/>
                <a:gd name="T5" fmla="*/ 0 h 8"/>
                <a:gd name="T6" fmla="*/ 0 60000 65536"/>
                <a:gd name="T7" fmla="*/ 0 60000 65536"/>
                <a:gd name="T8" fmla="*/ 0 60000 65536"/>
                <a:gd name="T9" fmla="*/ 0 w 2"/>
                <a:gd name="T10" fmla="*/ 0 h 8"/>
                <a:gd name="T11" fmla="*/ 2 w 2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8">
                  <a:moveTo>
                    <a:pt x="0" y="0"/>
                  </a:move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499" name="Group 149">
              <a:extLst>
                <a:ext uri="{FF2B5EF4-FFF2-40B4-BE49-F238E27FC236}">
                  <a16:creationId xmlns:a16="http://schemas.microsoft.com/office/drawing/2014/main" id="{15FB4405-0D28-0EED-70CD-13F81070836A}"/>
                </a:ext>
              </a:extLst>
            </p:cNvPr>
            <p:cNvGrpSpPr>
              <a:grpSpLocks/>
            </p:cNvGrpSpPr>
            <p:nvPr>
              <p:custDataLst>
                <p:tags r:id="rId132"/>
              </p:custDataLst>
            </p:nvPr>
          </p:nvGrpSpPr>
          <p:grpSpPr bwMode="auto">
            <a:xfrm>
              <a:off x="5299078" y="2627311"/>
              <a:ext cx="3682998" cy="1077912"/>
              <a:chOff x="3380" y="1512"/>
              <a:chExt cx="1704" cy="584"/>
            </a:xfrm>
            <a:grpFill/>
          </p:grpSpPr>
          <p:sp>
            <p:nvSpPr>
              <p:cNvPr id="692" name="Freeform 150">
                <a:extLst>
                  <a:ext uri="{FF2B5EF4-FFF2-40B4-BE49-F238E27FC236}">
                    <a16:creationId xmlns:a16="http://schemas.microsoft.com/office/drawing/2014/main" id="{41334B1B-007C-6FEB-A15B-9AC87606F9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2" y="1840"/>
                <a:ext cx="208" cy="120"/>
              </a:xfrm>
              <a:custGeom>
                <a:avLst/>
                <a:gdLst>
                  <a:gd name="T0" fmla="*/ 80 w 208"/>
                  <a:gd name="T1" fmla="*/ 104 h 120"/>
                  <a:gd name="T2" fmla="*/ 96 w 208"/>
                  <a:gd name="T3" fmla="*/ 104 h 120"/>
                  <a:gd name="T4" fmla="*/ 96 w 208"/>
                  <a:gd name="T5" fmla="*/ 96 h 120"/>
                  <a:gd name="T6" fmla="*/ 104 w 208"/>
                  <a:gd name="T7" fmla="*/ 88 h 120"/>
                  <a:gd name="T8" fmla="*/ 120 w 208"/>
                  <a:gd name="T9" fmla="*/ 88 h 120"/>
                  <a:gd name="T10" fmla="*/ 144 w 208"/>
                  <a:gd name="T11" fmla="*/ 96 h 120"/>
                  <a:gd name="T12" fmla="*/ 128 w 208"/>
                  <a:gd name="T13" fmla="*/ 104 h 120"/>
                  <a:gd name="T14" fmla="*/ 144 w 208"/>
                  <a:gd name="T15" fmla="*/ 112 h 120"/>
                  <a:gd name="T16" fmla="*/ 144 w 208"/>
                  <a:gd name="T17" fmla="*/ 120 h 120"/>
                  <a:gd name="T18" fmla="*/ 168 w 208"/>
                  <a:gd name="T19" fmla="*/ 112 h 120"/>
                  <a:gd name="T20" fmla="*/ 176 w 208"/>
                  <a:gd name="T21" fmla="*/ 112 h 120"/>
                  <a:gd name="T22" fmla="*/ 176 w 208"/>
                  <a:gd name="T23" fmla="*/ 104 h 120"/>
                  <a:gd name="T24" fmla="*/ 168 w 208"/>
                  <a:gd name="T25" fmla="*/ 104 h 120"/>
                  <a:gd name="T26" fmla="*/ 152 w 208"/>
                  <a:gd name="T27" fmla="*/ 96 h 120"/>
                  <a:gd name="T28" fmla="*/ 184 w 208"/>
                  <a:gd name="T29" fmla="*/ 80 h 120"/>
                  <a:gd name="T30" fmla="*/ 192 w 208"/>
                  <a:gd name="T31" fmla="*/ 80 h 120"/>
                  <a:gd name="T32" fmla="*/ 192 w 208"/>
                  <a:gd name="T33" fmla="*/ 72 h 120"/>
                  <a:gd name="T34" fmla="*/ 200 w 208"/>
                  <a:gd name="T35" fmla="*/ 64 h 120"/>
                  <a:gd name="T36" fmla="*/ 208 w 208"/>
                  <a:gd name="T37" fmla="*/ 72 h 120"/>
                  <a:gd name="T38" fmla="*/ 208 w 208"/>
                  <a:gd name="T39" fmla="*/ 56 h 120"/>
                  <a:gd name="T40" fmla="*/ 208 w 208"/>
                  <a:gd name="T41" fmla="*/ 48 h 120"/>
                  <a:gd name="T42" fmla="*/ 208 w 208"/>
                  <a:gd name="T43" fmla="*/ 40 h 120"/>
                  <a:gd name="T44" fmla="*/ 184 w 208"/>
                  <a:gd name="T45" fmla="*/ 40 h 120"/>
                  <a:gd name="T46" fmla="*/ 176 w 208"/>
                  <a:gd name="T47" fmla="*/ 32 h 120"/>
                  <a:gd name="T48" fmla="*/ 152 w 208"/>
                  <a:gd name="T49" fmla="*/ 32 h 120"/>
                  <a:gd name="T50" fmla="*/ 144 w 208"/>
                  <a:gd name="T51" fmla="*/ 16 h 120"/>
                  <a:gd name="T52" fmla="*/ 136 w 208"/>
                  <a:gd name="T53" fmla="*/ 16 h 120"/>
                  <a:gd name="T54" fmla="*/ 136 w 208"/>
                  <a:gd name="T55" fmla="*/ 8 h 120"/>
                  <a:gd name="T56" fmla="*/ 128 w 208"/>
                  <a:gd name="T57" fmla="*/ 0 h 120"/>
                  <a:gd name="T58" fmla="*/ 104 w 208"/>
                  <a:gd name="T59" fmla="*/ 8 h 120"/>
                  <a:gd name="T60" fmla="*/ 96 w 208"/>
                  <a:gd name="T61" fmla="*/ 8 h 120"/>
                  <a:gd name="T62" fmla="*/ 96 w 208"/>
                  <a:gd name="T63" fmla="*/ 16 h 120"/>
                  <a:gd name="T64" fmla="*/ 80 w 208"/>
                  <a:gd name="T65" fmla="*/ 16 h 120"/>
                  <a:gd name="T66" fmla="*/ 64 w 208"/>
                  <a:gd name="T67" fmla="*/ 16 h 120"/>
                  <a:gd name="T68" fmla="*/ 40 w 208"/>
                  <a:gd name="T69" fmla="*/ 8 h 120"/>
                  <a:gd name="T70" fmla="*/ 16 w 208"/>
                  <a:gd name="T71" fmla="*/ 16 h 120"/>
                  <a:gd name="T72" fmla="*/ 24 w 208"/>
                  <a:gd name="T73" fmla="*/ 32 h 120"/>
                  <a:gd name="T74" fmla="*/ 0 w 208"/>
                  <a:gd name="T75" fmla="*/ 48 h 120"/>
                  <a:gd name="T76" fmla="*/ 0 w 208"/>
                  <a:gd name="T77" fmla="*/ 56 h 120"/>
                  <a:gd name="T78" fmla="*/ 0 w 208"/>
                  <a:gd name="T79" fmla="*/ 64 h 120"/>
                  <a:gd name="T80" fmla="*/ 8 w 208"/>
                  <a:gd name="T81" fmla="*/ 64 h 120"/>
                  <a:gd name="T82" fmla="*/ 32 w 208"/>
                  <a:gd name="T83" fmla="*/ 72 h 120"/>
                  <a:gd name="T84" fmla="*/ 56 w 208"/>
                  <a:gd name="T85" fmla="*/ 64 h 120"/>
                  <a:gd name="T86" fmla="*/ 64 w 208"/>
                  <a:gd name="T87" fmla="*/ 56 h 120"/>
                  <a:gd name="T88" fmla="*/ 80 w 208"/>
                  <a:gd name="T89" fmla="*/ 64 h 120"/>
                  <a:gd name="T90" fmla="*/ 88 w 208"/>
                  <a:gd name="T91" fmla="*/ 72 h 120"/>
                  <a:gd name="T92" fmla="*/ 96 w 208"/>
                  <a:gd name="T93" fmla="*/ 80 h 120"/>
                  <a:gd name="T94" fmla="*/ 96 w 208"/>
                  <a:gd name="T95" fmla="*/ 88 h 120"/>
                  <a:gd name="T96" fmla="*/ 88 w 208"/>
                  <a:gd name="T97" fmla="*/ 88 h 120"/>
                  <a:gd name="T98" fmla="*/ 80 w 208"/>
                  <a:gd name="T99" fmla="*/ 104 h 12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08"/>
                  <a:gd name="T151" fmla="*/ 0 h 120"/>
                  <a:gd name="T152" fmla="*/ 208 w 208"/>
                  <a:gd name="T153" fmla="*/ 120 h 12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08" h="120">
                    <a:moveTo>
                      <a:pt x="80" y="104"/>
                    </a:moveTo>
                    <a:lnTo>
                      <a:pt x="96" y="104"/>
                    </a:lnTo>
                    <a:lnTo>
                      <a:pt x="96" y="96"/>
                    </a:lnTo>
                    <a:lnTo>
                      <a:pt x="104" y="88"/>
                    </a:lnTo>
                    <a:lnTo>
                      <a:pt x="120" y="88"/>
                    </a:lnTo>
                    <a:lnTo>
                      <a:pt x="144" y="96"/>
                    </a:lnTo>
                    <a:lnTo>
                      <a:pt x="128" y="104"/>
                    </a:lnTo>
                    <a:lnTo>
                      <a:pt x="144" y="112"/>
                    </a:lnTo>
                    <a:lnTo>
                      <a:pt x="144" y="120"/>
                    </a:lnTo>
                    <a:lnTo>
                      <a:pt x="168" y="112"/>
                    </a:lnTo>
                    <a:lnTo>
                      <a:pt x="176" y="112"/>
                    </a:lnTo>
                    <a:lnTo>
                      <a:pt x="176" y="104"/>
                    </a:lnTo>
                    <a:lnTo>
                      <a:pt x="168" y="104"/>
                    </a:lnTo>
                    <a:lnTo>
                      <a:pt x="152" y="96"/>
                    </a:lnTo>
                    <a:lnTo>
                      <a:pt x="184" y="80"/>
                    </a:lnTo>
                    <a:lnTo>
                      <a:pt x="192" y="80"/>
                    </a:lnTo>
                    <a:lnTo>
                      <a:pt x="192" y="72"/>
                    </a:lnTo>
                    <a:lnTo>
                      <a:pt x="200" y="64"/>
                    </a:lnTo>
                    <a:lnTo>
                      <a:pt x="208" y="72"/>
                    </a:lnTo>
                    <a:lnTo>
                      <a:pt x="208" y="56"/>
                    </a:lnTo>
                    <a:lnTo>
                      <a:pt x="208" y="48"/>
                    </a:lnTo>
                    <a:lnTo>
                      <a:pt x="208" y="40"/>
                    </a:lnTo>
                    <a:lnTo>
                      <a:pt x="184" y="40"/>
                    </a:lnTo>
                    <a:lnTo>
                      <a:pt x="176" y="32"/>
                    </a:lnTo>
                    <a:lnTo>
                      <a:pt x="152" y="32"/>
                    </a:lnTo>
                    <a:lnTo>
                      <a:pt x="144" y="16"/>
                    </a:lnTo>
                    <a:lnTo>
                      <a:pt x="136" y="16"/>
                    </a:lnTo>
                    <a:lnTo>
                      <a:pt x="136" y="8"/>
                    </a:lnTo>
                    <a:lnTo>
                      <a:pt x="128" y="0"/>
                    </a:lnTo>
                    <a:lnTo>
                      <a:pt x="104" y="8"/>
                    </a:lnTo>
                    <a:lnTo>
                      <a:pt x="96" y="8"/>
                    </a:lnTo>
                    <a:lnTo>
                      <a:pt x="96" y="16"/>
                    </a:lnTo>
                    <a:lnTo>
                      <a:pt x="80" y="16"/>
                    </a:lnTo>
                    <a:lnTo>
                      <a:pt x="64" y="16"/>
                    </a:lnTo>
                    <a:lnTo>
                      <a:pt x="40" y="8"/>
                    </a:lnTo>
                    <a:lnTo>
                      <a:pt x="16" y="16"/>
                    </a:lnTo>
                    <a:lnTo>
                      <a:pt x="24" y="32"/>
                    </a:lnTo>
                    <a:lnTo>
                      <a:pt x="0" y="48"/>
                    </a:lnTo>
                    <a:lnTo>
                      <a:pt x="0" y="56"/>
                    </a:lnTo>
                    <a:lnTo>
                      <a:pt x="0" y="64"/>
                    </a:lnTo>
                    <a:lnTo>
                      <a:pt x="8" y="64"/>
                    </a:lnTo>
                    <a:lnTo>
                      <a:pt x="32" y="72"/>
                    </a:lnTo>
                    <a:lnTo>
                      <a:pt x="56" y="64"/>
                    </a:lnTo>
                    <a:lnTo>
                      <a:pt x="64" y="56"/>
                    </a:lnTo>
                    <a:lnTo>
                      <a:pt x="80" y="64"/>
                    </a:lnTo>
                    <a:lnTo>
                      <a:pt x="88" y="72"/>
                    </a:lnTo>
                    <a:lnTo>
                      <a:pt x="96" y="80"/>
                    </a:lnTo>
                    <a:lnTo>
                      <a:pt x="96" y="88"/>
                    </a:lnTo>
                    <a:lnTo>
                      <a:pt x="88" y="88"/>
                    </a:lnTo>
                    <a:lnTo>
                      <a:pt x="80" y="10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3" name="Freeform 151">
                <a:extLst>
                  <a:ext uri="{FF2B5EF4-FFF2-40B4-BE49-F238E27FC236}">
                    <a16:creationId xmlns:a16="http://schemas.microsoft.com/office/drawing/2014/main" id="{27245DE7-7CFC-E832-83C9-6272D398E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" y="1800"/>
                <a:ext cx="472" cy="208"/>
              </a:xfrm>
              <a:custGeom>
                <a:avLst/>
                <a:gdLst>
                  <a:gd name="T0" fmla="*/ 472 w 472"/>
                  <a:gd name="T1" fmla="*/ 88 h 208"/>
                  <a:gd name="T2" fmla="*/ 456 w 472"/>
                  <a:gd name="T3" fmla="*/ 88 h 208"/>
                  <a:gd name="T4" fmla="*/ 416 w 472"/>
                  <a:gd name="T5" fmla="*/ 64 h 208"/>
                  <a:gd name="T6" fmla="*/ 384 w 472"/>
                  <a:gd name="T7" fmla="*/ 56 h 208"/>
                  <a:gd name="T8" fmla="*/ 344 w 472"/>
                  <a:gd name="T9" fmla="*/ 32 h 208"/>
                  <a:gd name="T10" fmla="*/ 312 w 472"/>
                  <a:gd name="T11" fmla="*/ 16 h 208"/>
                  <a:gd name="T12" fmla="*/ 288 w 472"/>
                  <a:gd name="T13" fmla="*/ 24 h 208"/>
                  <a:gd name="T14" fmla="*/ 272 w 472"/>
                  <a:gd name="T15" fmla="*/ 16 h 208"/>
                  <a:gd name="T16" fmla="*/ 256 w 472"/>
                  <a:gd name="T17" fmla="*/ 8 h 208"/>
                  <a:gd name="T18" fmla="*/ 224 w 472"/>
                  <a:gd name="T19" fmla="*/ 0 h 208"/>
                  <a:gd name="T20" fmla="*/ 200 w 472"/>
                  <a:gd name="T21" fmla="*/ 8 h 208"/>
                  <a:gd name="T22" fmla="*/ 144 w 472"/>
                  <a:gd name="T23" fmla="*/ 16 h 208"/>
                  <a:gd name="T24" fmla="*/ 152 w 472"/>
                  <a:gd name="T25" fmla="*/ 24 h 208"/>
                  <a:gd name="T26" fmla="*/ 144 w 472"/>
                  <a:gd name="T27" fmla="*/ 40 h 208"/>
                  <a:gd name="T28" fmla="*/ 144 w 472"/>
                  <a:gd name="T29" fmla="*/ 48 h 208"/>
                  <a:gd name="T30" fmla="*/ 160 w 472"/>
                  <a:gd name="T31" fmla="*/ 64 h 208"/>
                  <a:gd name="T32" fmla="*/ 128 w 472"/>
                  <a:gd name="T33" fmla="*/ 64 h 208"/>
                  <a:gd name="T34" fmla="*/ 96 w 472"/>
                  <a:gd name="T35" fmla="*/ 64 h 208"/>
                  <a:gd name="T36" fmla="*/ 88 w 472"/>
                  <a:gd name="T37" fmla="*/ 72 h 208"/>
                  <a:gd name="T38" fmla="*/ 56 w 472"/>
                  <a:gd name="T39" fmla="*/ 48 h 208"/>
                  <a:gd name="T40" fmla="*/ 40 w 472"/>
                  <a:gd name="T41" fmla="*/ 56 h 208"/>
                  <a:gd name="T42" fmla="*/ 16 w 472"/>
                  <a:gd name="T43" fmla="*/ 64 h 208"/>
                  <a:gd name="T44" fmla="*/ 16 w 472"/>
                  <a:gd name="T45" fmla="*/ 80 h 208"/>
                  <a:gd name="T46" fmla="*/ 0 w 472"/>
                  <a:gd name="T47" fmla="*/ 96 h 208"/>
                  <a:gd name="T48" fmla="*/ 8 w 472"/>
                  <a:gd name="T49" fmla="*/ 112 h 208"/>
                  <a:gd name="T50" fmla="*/ 32 w 472"/>
                  <a:gd name="T51" fmla="*/ 128 h 208"/>
                  <a:gd name="T52" fmla="*/ 32 w 472"/>
                  <a:gd name="T53" fmla="*/ 128 h 208"/>
                  <a:gd name="T54" fmla="*/ 72 w 472"/>
                  <a:gd name="T55" fmla="*/ 120 h 208"/>
                  <a:gd name="T56" fmla="*/ 104 w 472"/>
                  <a:gd name="T57" fmla="*/ 144 h 208"/>
                  <a:gd name="T58" fmla="*/ 64 w 472"/>
                  <a:gd name="T59" fmla="*/ 152 h 208"/>
                  <a:gd name="T60" fmla="*/ 56 w 472"/>
                  <a:gd name="T61" fmla="*/ 160 h 208"/>
                  <a:gd name="T62" fmla="*/ 80 w 472"/>
                  <a:gd name="T63" fmla="*/ 184 h 208"/>
                  <a:gd name="T64" fmla="*/ 88 w 472"/>
                  <a:gd name="T65" fmla="*/ 192 h 208"/>
                  <a:gd name="T66" fmla="*/ 96 w 472"/>
                  <a:gd name="T67" fmla="*/ 192 h 208"/>
                  <a:gd name="T68" fmla="*/ 128 w 472"/>
                  <a:gd name="T69" fmla="*/ 208 h 208"/>
                  <a:gd name="T70" fmla="*/ 120 w 472"/>
                  <a:gd name="T71" fmla="*/ 152 h 208"/>
                  <a:gd name="T72" fmla="*/ 200 w 472"/>
                  <a:gd name="T73" fmla="*/ 176 h 208"/>
                  <a:gd name="T74" fmla="*/ 248 w 472"/>
                  <a:gd name="T75" fmla="*/ 184 h 208"/>
                  <a:gd name="T76" fmla="*/ 264 w 472"/>
                  <a:gd name="T77" fmla="*/ 200 h 208"/>
                  <a:gd name="T78" fmla="*/ 288 w 472"/>
                  <a:gd name="T79" fmla="*/ 208 h 208"/>
                  <a:gd name="T80" fmla="*/ 312 w 472"/>
                  <a:gd name="T81" fmla="*/ 184 h 208"/>
                  <a:gd name="T82" fmla="*/ 344 w 472"/>
                  <a:gd name="T83" fmla="*/ 184 h 208"/>
                  <a:gd name="T84" fmla="*/ 360 w 472"/>
                  <a:gd name="T85" fmla="*/ 184 h 208"/>
                  <a:gd name="T86" fmla="*/ 424 w 472"/>
                  <a:gd name="T87" fmla="*/ 192 h 208"/>
                  <a:gd name="T88" fmla="*/ 416 w 472"/>
                  <a:gd name="T89" fmla="*/ 152 h 208"/>
                  <a:gd name="T90" fmla="*/ 432 w 472"/>
                  <a:gd name="T91" fmla="*/ 120 h 208"/>
                  <a:gd name="T92" fmla="*/ 464 w 472"/>
                  <a:gd name="T93" fmla="*/ 120 h 208"/>
                  <a:gd name="T94" fmla="*/ 472 w 472"/>
                  <a:gd name="T95" fmla="*/ 96 h 20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72"/>
                  <a:gd name="T145" fmla="*/ 0 h 208"/>
                  <a:gd name="T146" fmla="*/ 472 w 472"/>
                  <a:gd name="T147" fmla="*/ 208 h 20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72" h="208">
                    <a:moveTo>
                      <a:pt x="472" y="96"/>
                    </a:moveTo>
                    <a:lnTo>
                      <a:pt x="472" y="88"/>
                    </a:lnTo>
                    <a:lnTo>
                      <a:pt x="464" y="80"/>
                    </a:lnTo>
                    <a:lnTo>
                      <a:pt x="456" y="88"/>
                    </a:lnTo>
                    <a:lnTo>
                      <a:pt x="448" y="80"/>
                    </a:lnTo>
                    <a:lnTo>
                      <a:pt x="416" y="64"/>
                    </a:lnTo>
                    <a:lnTo>
                      <a:pt x="392" y="64"/>
                    </a:lnTo>
                    <a:lnTo>
                      <a:pt x="384" y="56"/>
                    </a:lnTo>
                    <a:lnTo>
                      <a:pt x="376" y="64"/>
                    </a:lnTo>
                    <a:lnTo>
                      <a:pt x="344" y="32"/>
                    </a:lnTo>
                    <a:lnTo>
                      <a:pt x="320" y="16"/>
                    </a:lnTo>
                    <a:lnTo>
                      <a:pt x="312" y="16"/>
                    </a:lnTo>
                    <a:lnTo>
                      <a:pt x="296" y="24"/>
                    </a:lnTo>
                    <a:lnTo>
                      <a:pt x="288" y="24"/>
                    </a:lnTo>
                    <a:lnTo>
                      <a:pt x="288" y="16"/>
                    </a:lnTo>
                    <a:lnTo>
                      <a:pt x="272" y="16"/>
                    </a:lnTo>
                    <a:lnTo>
                      <a:pt x="256" y="16"/>
                    </a:lnTo>
                    <a:lnTo>
                      <a:pt x="256" y="8"/>
                    </a:lnTo>
                    <a:lnTo>
                      <a:pt x="248" y="0"/>
                    </a:lnTo>
                    <a:lnTo>
                      <a:pt x="224" y="0"/>
                    </a:lnTo>
                    <a:lnTo>
                      <a:pt x="224" y="8"/>
                    </a:lnTo>
                    <a:lnTo>
                      <a:pt x="200" y="8"/>
                    </a:lnTo>
                    <a:lnTo>
                      <a:pt x="160" y="16"/>
                    </a:lnTo>
                    <a:lnTo>
                      <a:pt x="144" y="16"/>
                    </a:lnTo>
                    <a:lnTo>
                      <a:pt x="144" y="24"/>
                    </a:lnTo>
                    <a:lnTo>
                      <a:pt x="152" y="24"/>
                    </a:lnTo>
                    <a:lnTo>
                      <a:pt x="152" y="32"/>
                    </a:lnTo>
                    <a:lnTo>
                      <a:pt x="144" y="40"/>
                    </a:lnTo>
                    <a:lnTo>
                      <a:pt x="152" y="40"/>
                    </a:lnTo>
                    <a:lnTo>
                      <a:pt x="144" y="48"/>
                    </a:lnTo>
                    <a:lnTo>
                      <a:pt x="168" y="56"/>
                    </a:lnTo>
                    <a:lnTo>
                      <a:pt x="160" y="64"/>
                    </a:lnTo>
                    <a:lnTo>
                      <a:pt x="144" y="64"/>
                    </a:lnTo>
                    <a:lnTo>
                      <a:pt x="128" y="64"/>
                    </a:lnTo>
                    <a:lnTo>
                      <a:pt x="112" y="64"/>
                    </a:lnTo>
                    <a:lnTo>
                      <a:pt x="96" y="64"/>
                    </a:lnTo>
                    <a:lnTo>
                      <a:pt x="88" y="64"/>
                    </a:lnTo>
                    <a:lnTo>
                      <a:pt x="88" y="72"/>
                    </a:lnTo>
                    <a:lnTo>
                      <a:pt x="72" y="56"/>
                    </a:lnTo>
                    <a:lnTo>
                      <a:pt x="56" y="48"/>
                    </a:lnTo>
                    <a:lnTo>
                      <a:pt x="48" y="56"/>
                    </a:lnTo>
                    <a:lnTo>
                      <a:pt x="40" y="56"/>
                    </a:lnTo>
                    <a:lnTo>
                      <a:pt x="24" y="64"/>
                    </a:lnTo>
                    <a:lnTo>
                      <a:pt x="16" y="64"/>
                    </a:lnTo>
                    <a:lnTo>
                      <a:pt x="24" y="80"/>
                    </a:lnTo>
                    <a:lnTo>
                      <a:pt x="16" y="80"/>
                    </a:lnTo>
                    <a:lnTo>
                      <a:pt x="8" y="72"/>
                    </a:lnTo>
                    <a:lnTo>
                      <a:pt x="0" y="96"/>
                    </a:lnTo>
                    <a:lnTo>
                      <a:pt x="8" y="104"/>
                    </a:lnTo>
                    <a:lnTo>
                      <a:pt x="8" y="112"/>
                    </a:lnTo>
                    <a:lnTo>
                      <a:pt x="24" y="112"/>
                    </a:lnTo>
                    <a:lnTo>
                      <a:pt x="32" y="128"/>
                    </a:lnTo>
                    <a:lnTo>
                      <a:pt x="24" y="128"/>
                    </a:lnTo>
                    <a:lnTo>
                      <a:pt x="32" y="128"/>
                    </a:lnTo>
                    <a:lnTo>
                      <a:pt x="56" y="120"/>
                    </a:lnTo>
                    <a:lnTo>
                      <a:pt x="72" y="120"/>
                    </a:lnTo>
                    <a:lnTo>
                      <a:pt x="88" y="128"/>
                    </a:lnTo>
                    <a:lnTo>
                      <a:pt x="104" y="144"/>
                    </a:lnTo>
                    <a:lnTo>
                      <a:pt x="72" y="144"/>
                    </a:lnTo>
                    <a:lnTo>
                      <a:pt x="64" y="152"/>
                    </a:lnTo>
                    <a:lnTo>
                      <a:pt x="72" y="160"/>
                    </a:lnTo>
                    <a:lnTo>
                      <a:pt x="56" y="160"/>
                    </a:lnTo>
                    <a:lnTo>
                      <a:pt x="64" y="160"/>
                    </a:lnTo>
                    <a:lnTo>
                      <a:pt x="80" y="184"/>
                    </a:lnTo>
                    <a:lnTo>
                      <a:pt x="88" y="184"/>
                    </a:lnTo>
                    <a:lnTo>
                      <a:pt x="88" y="192"/>
                    </a:lnTo>
                    <a:lnTo>
                      <a:pt x="88" y="200"/>
                    </a:lnTo>
                    <a:lnTo>
                      <a:pt x="96" y="192"/>
                    </a:lnTo>
                    <a:lnTo>
                      <a:pt x="104" y="192"/>
                    </a:lnTo>
                    <a:lnTo>
                      <a:pt x="128" y="208"/>
                    </a:lnTo>
                    <a:lnTo>
                      <a:pt x="136" y="208"/>
                    </a:lnTo>
                    <a:lnTo>
                      <a:pt x="120" y="152"/>
                    </a:lnTo>
                    <a:lnTo>
                      <a:pt x="152" y="144"/>
                    </a:lnTo>
                    <a:lnTo>
                      <a:pt x="200" y="176"/>
                    </a:lnTo>
                    <a:lnTo>
                      <a:pt x="232" y="168"/>
                    </a:lnTo>
                    <a:lnTo>
                      <a:pt x="248" y="184"/>
                    </a:lnTo>
                    <a:lnTo>
                      <a:pt x="256" y="200"/>
                    </a:lnTo>
                    <a:lnTo>
                      <a:pt x="264" y="200"/>
                    </a:lnTo>
                    <a:lnTo>
                      <a:pt x="264" y="208"/>
                    </a:lnTo>
                    <a:lnTo>
                      <a:pt x="288" y="208"/>
                    </a:lnTo>
                    <a:lnTo>
                      <a:pt x="312" y="192"/>
                    </a:lnTo>
                    <a:lnTo>
                      <a:pt x="312" y="184"/>
                    </a:lnTo>
                    <a:lnTo>
                      <a:pt x="336" y="192"/>
                    </a:lnTo>
                    <a:lnTo>
                      <a:pt x="344" y="184"/>
                    </a:lnTo>
                    <a:lnTo>
                      <a:pt x="344" y="176"/>
                    </a:lnTo>
                    <a:lnTo>
                      <a:pt x="360" y="184"/>
                    </a:lnTo>
                    <a:lnTo>
                      <a:pt x="408" y="184"/>
                    </a:lnTo>
                    <a:lnTo>
                      <a:pt x="424" y="192"/>
                    </a:lnTo>
                    <a:lnTo>
                      <a:pt x="424" y="176"/>
                    </a:lnTo>
                    <a:lnTo>
                      <a:pt x="416" y="152"/>
                    </a:lnTo>
                    <a:lnTo>
                      <a:pt x="432" y="144"/>
                    </a:lnTo>
                    <a:lnTo>
                      <a:pt x="432" y="120"/>
                    </a:lnTo>
                    <a:lnTo>
                      <a:pt x="456" y="120"/>
                    </a:lnTo>
                    <a:lnTo>
                      <a:pt x="464" y="120"/>
                    </a:lnTo>
                    <a:lnTo>
                      <a:pt x="464" y="104"/>
                    </a:lnTo>
                    <a:lnTo>
                      <a:pt x="472" y="9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4" name="Freeform 152">
                <a:extLst>
                  <a:ext uri="{FF2B5EF4-FFF2-40B4-BE49-F238E27FC236}">
                    <a16:creationId xmlns:a16="http://schemas.microsoft.com/office/drawing/2014/main" id="{D5826333-3EE5-D214-9661-6CC3EB2572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2" y="1512"/>
                <a:ext cx="1632" cy="496"/>
              </a:xfrm>
              <a:custGeom>
                <a:avLst/>
                <a:gdLst>
                  <a:gd name="T0" fmla="*/ 448 w 1632"/>
                  <a:gd name="T1" fmla="*/ 104 h 496"/>
                  <a:gd name="T2" fmla="*/ 440 w 1632"/>
                  <a:gd name="T3" fmla="*/ 104 h 496"/>
                  <a:gd name="T4" fmla="*/ 384 w 1632"/>
                  <a:gd name="T5" fmla="*/ 48 h 496"/>
                  <a:gd name="T6" fmla="*/ 392 w 1632"/>
                  <a:gd name="T7" fmla="*/ 112 h 496"/>
                  <a:gd name="T8" fmla="*/ 304 w 1632"/>
                  <a:gd name="T9" fmla="*/ 112 h 496"/>
                  <a:gd name="T10" fmla="*/ 200 w 1632"/>
                  <a:gd name="T11" fmla="*/ 128 h 496"/>
                  <a:gd name="T12" fmla="*/ 160 w 1632"/>
                  <a:gd name="T13" fmla="*/ 112 h 496"/>
                  <a:gd name="T14" fmla="*/ 136 w 1632"/>
                  <a:gd name="T15" fmla="*/ 160 h 496"/>
                  <a:gd name="T16" fmla="*/ 72 w 1632"/>
                  <a:gd name="T17" fmla="*/ 160 h 496"/>
                  <a:gd name="T18" fmla="*/ 80 w 1632"/>
                  <a:gd name="T19" fmla="*/ 104 h 496"/>
                  <a:gd name="T20" fmla="*/ 16 w 1632"/>
                  <a:gd name="T21" fmla="*/ 120 h 496"/>
                  <a:gd name="T22" fmla="*/ 40 w 1632"/>
                  <a:gd name="T23" fmla="*/ 184 h 496"/>
                  <a:gd name="T24" fmla="*/ 0 w 1632"/>
                  <a:gd name="T25" fmla="*/ 240 h 496"/>
                  <a:gd name="T26" fmla="*/ 64 w 1632"/>
                  <a:gd name="T27" fmla="*/ 312 h 496"/>
                  <a:gd name="T28" fmla="*/ 96 w 1632"/>
                  <a:gd name="T29" fmla="*/ 336 h 496"/>
                  <a:gd name="T30" fmla="*/ 168 w 1632"/>
                  <a:gd name="T31" fmla="*/ 368 h 496"/>
                  <a:gd name="T32" fmla="*/ 152 w 1632"/>
                  <a:gd name="T33" fmla="*/ 408 h 496"/>
                  <a:gd name="T34" fmla="*/ 136 w 1632"/>
                  <a:gd name="T35" fmla="*/ 440 h 496"/>
                  <a:gd name="T36" fmla="*/ 264 w 1632"/>
                  <a:gd name="T37" fmla="*/ 488 h 496"/>
                  <a:gd name="T38" fmla="*/ 256 w 1632"/>
                  <a:gd name="T39" fmla="*/ 440 h 496"/>
                  <a:gd name="T40" fmla="*/ 272 w 1632"/>
                  <a:gd name="T41" fmla="*/ 400 h 496"/>
                  <a:gd name="T42" fmla="*/ 272 w 1632"/>
                  <a:gd name="T43" fmla="*/ 368 h 496"/>
                  <a:gd name="T44" fmla="*/ 320 w 1632"/>
                  <a:gd name="T45" fmla="*/ 344 h 496"/>
                  <a:gd name="T46" fmla="*/ 392 w 1632"/>
                  <a:gd name="T47" fmla="*/ 352 h 496"/>
                  <a:gd name="T48" fmla="*/ 400 w 1632"/>
                  <a:gd name="T49" fmla="*/ 320 h 496"/>
                  <a:gd name="T50" fmla="*/ 472 w 1632"/>
                  <a:gd name="T51" fmla="*/ 296 h 496"/>
                  <a:gd name="T52" fmla="*/ 536 w 1632"/>
                  <a:gd name="T53" fmla="*/ 304 h 496"/>
                  <a:gd name="T54" fmla="*/ 624 w 1632"/>
                  <a:gd name="T55" fmla="*/ 352 h 496"/>
                  <a:gd name="T56" fmla="*/ 712 w 1632"/>
                  <a:gd name="T57" fmla="*/ 368 h 496"/>
                  <a:gd name="T58" fmla="*/ 808 w 1632"/>
                  <a:gd name="T59" fmla="*/ 368 h 496"/>
                  <a:gd name="T60" fmla="*/ 896 w 1632"/>
                  <a:gd name="T61" fmla="*/ 360 h 496"/>
                  <a:gd name="T62" fmla="*/ 1072 w 1632"/>
                  <a:gd name="T63" fmla="*/ 368 h 496"/>
                  <a:gd name="T64" fmla="*/ 1104 w 1632"/>
                  <a:gd name="T65" fmla="*/ 312 h 496"/>
                  <a:gd name="T66" fmla="*/ 1248 w 1632"/>
                  <a:gd name="T67" fmla="*/ 400 h 496"/>
                  <a:gd name="T68" fmla="*/ 1280 w 1632"/>
                  <a:gd name="T69" fmla="*/ 432 h 496"/>
                  <a:gd name="T70" fmla="*/ 1328 w 1632"/>
                  <a:gd name="T71" fmla="*/ 464 h 496"/>
                  <a:gd name="T72" fmla="*/ 1272 w 1632"/>
                  <a:gd name="T73" fmla="*/ 304 h 496"/>
                  <a:gd name="T74" fmla="*/ 1240 w 1632"/>
                  <a:gd name="T75" fmla="*/ 296 h 496"/>
                  <a:gd name="T76" fmla="*/ 1312 w 1632"/>
                  <a:gd name="T77" fmla="*/ 224 h 496"/>
                  <a:gd name="T78" fmla="*/ 1368 w 1632"/>
                  <a:gd name="T79" fmla="*/ 200 h 496"/>
                  <a:gd name="T80" fmla="*/ 1432 w 1632"/>
                  <a:gd name="T81" fmla="*/ 184 h 496"/>
                  <a:gd name="T82" fmla="*/ 1432 w 1632"/>
                  <a:gd name="T83" fmla="*/ 264 h 496"/>
                  <a:gd name="T84" fmla="*/ 1520 w 1632"/>
                  <a:gd name="T85" fmla="*/ 320 h 496"/>
                  <a:gd name="T86" fmla="*/ 1488 w 1632"/>
                  <a:gd name="T87" fmla="*/ 256 h 496"/>
                  <a:gd name="T88" fmla="*/ 1480 w 1632"/>
                  <a:gd name="T89" fmla="*/ 216 h 496"/>
                  <a:gd name="T90" fmla="*/ 1552 w 1632"/>
                  <a:gd name="T91" fmla="*/ 192 h 496"/>
                  <a:gd name="T92" fmla="*/ 1544 w 1632"/>
                  <a:gd name="T93" fmla="*/ 152 h 496"/>
                  <a:gd name="T94" fmla="*/ 1632 w 1632"/>
                  <a:gd name="T95" fmla="*/ 160 h 496"/>
                  <a:gd name="T96" fmla="*/ 1472 w 1632"/>
                  <a:gd name="T97" fmla="*/ 104 h 496"/>
                  <a:gd name="T98" fmla="*/ 1360 w 1632"/>
                  <a:gd name="T99" fmla="*/ 96 h 496"/>
                  <a:gd name="T100" fmla="*/ 1232 w 1632"/>
                  <a:gd name="T101" fmla="*/ 80 h 496"/>
                  <a:gd name="T102" fmla="*/ 1008 w 1632"/>
                  <a:gd name="T103" fmla="*/ 64 h 496"/>
                  <a:gd name="T104" fmla="*/ 936 w 1632"/>
                  <a:gd name="T105" fmla="*/ 56 h 496"/>
                  <a:gd name="T106" fmla="*/ 816 w 1632"/>
                  <a:gd name="T107" fmla="*/ 48 h 496"/>
                  <a:gd name="T108" fmla="*/ 744 w 1632"/>
                  <a:gd name="T109" fmla="*/ 48 h 496"/>
                  <a:gd name="T110" fmla="*/ 656 w 1632"/>
                  <a:gd name="T111" fmla="*/ 0 h 496"/>
                  <a:gd name="T112" fmla="*/ 512 w 1632"/>
                  <a:gd name="T113" fmla="*/ 32 h 496"/>
                  <a:gd name="T114" fmla="*/ 448 w 1632"/>
                  <a:gd name="T115" fmla="*/ 56 h 49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632"/>
                  <a:gd name="T175" fmla="*/ 0 h 496"/>
                  <a:gd name="T176" fmla="*/ 1632 w 1632"/>
                  <a:gd name="T177" fmla="*/ 496 h 49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632" h="496">
                    <a:moveTo>
                      <a:pt x="432" y="56"/>
                    </a:moveTo>
                    <a:lnTo>
                      <a:pt x="416" y="72"/>
                    </a:lnTo>
                    <a:lnTo>
                      <a:pt x="432" y="80"/>
                    </a:lnTo>
                    <a:lnTo>
                      <a:pt x="432" y="96"/>
                    </a:lnTo>
                    <a:lnTo>
                      <a:pt x="440" y="104"/>
                    </a:lnTo>
                    <a:lnTo>
                      <a:pt x="448" y="104"/>
                    </a:lnTo>
                    <a:lnTo>
                      <a:pt x="464" y="120"/>
                    </a:lnTo>
                    <a:lnTo>
                      <a:pt x="456" y="128"/>
                    </a:lnTo>
                    <a:lnTo>
                      <a:pt x="440" y="136"/>
                    </a:lnTo>
                    <a:lnTo>
                      <a:pt x="424" y="128"/>
                    </a:lnTo>
                    <a:lnTo>
                      <a:pt x="440" y="120"/>
                    </a:lnTo>
                    <a:lnTo>
                      <a:pt x="440" y="104"/>
                    </a:lnTo>
                    <a:lnTo>
                      <a:pt x="432" y="104"/>
                    </a:lnTo>
                    <a:lnTo>
                      <a:pt x="416" y="72"/>
                    </a:lnTo>
                    <a:lnTo>
                      <a:pt x="408" y="72"/>
                    </a:lnTo>
                    <a:lnTo>
                      <a:pt x="408" y="56"/>
                    </a:lnTo>
                    <a:lnTo>
                      <a:pt x="392" y="48"/>
                    </a:lnTo>
                    <a:lnTo>
                      <a:pt x="384" y="48"/>
                    </a:lnTo>
                    <a:lnTo>
                      <a:pt x="376" y="48"/>
                    </a:lnTo>
                    <a:lnTo>
                      <a:pt x="360" y="72"/>
                    </a:lnTo>
                    <a:lnTo>
                      <a:pt x="368" y="80"/>
                    </a:lnTo>
                    <a:lnTo>
                      <a:pt x="368" y="96"/>
                    </a:lnTo>
                    <a:lnTo>
                      <a:pt x="400" y="104"/>
                    </a:lnTo>
                    <a:lnTo>
                      <a:pt x="392" y="112"/>
                    </a:lnTo>
                    <a:lnTo>
                      <a:pt x="288" y="80"/>
                    </a:lnTo>
                    <a:lnTo>
                      <a:pt x="288" y="88"/>
                    </a:lnTo>
                    <a:lnTo>
                      <a:pt x="320" y="104"/>
                    </a:lnTo>
                    <a:lnTo>
                      <a:pt x="304" y="104"/>
                    </a:lnTo>
                    <a:lnTo>
                      <a:pt x="312" y="112"/>
                    </a:lnTo>
                    <a:lnTo>
                      <a:pt x="304" y="112"/>
                    </a:lnTo>
                    <a:lnTo>
                      <a:pt x="296" y="104"/>
                    </a:lnTo>
                    <a:lnTo>
                      <a:pt x="264" y="104"/>
                    </a:lnTo>
                    <a:lnTo>
                      <a:pt x="264" y="112"/>
                    </a:lnTo>
                    <a:lnTo>
                      <a:pt x="248" y="104"/>
                    </a:lnTo>
                    <a:lnTo>
                      <a:pt x="200" y="120"/>
                    </a:lnTo>
                    <a:lnTo>
                      <a:pt x="200" y="128"/>
                    </a:lnTo>
                    <a:lnTo>
                      <a:pt x="192" y="128"/>
                    </a:lnTo>
                    <a:lnTo>
                      <a:pt x="168" y="120"/>
                    </a:lnTo>
                    <a:lnTo>
                      <a:pt x="184" y="120"/>
                    </a:lnTo>
                    <a:lnTo>
                      <a:pt x="176" y="112"/>
                    </a:lnTo>
                    <a:lnTo>
                      <a:pt x="144" y="104"/>
                    </a:lnTo>
                    <a:lnTo>
                      <a:pt x="160" y="112"/>
                    </a:lnTo>
                    <a:lnTo>
                      <a:pt x="160" y="128"/>
                    </a:lnTo>
                    <a:lnTo>
                      <a:pt x="168" y="136"/>
                    </a:lnTo>
                    <a:lnTo>
                      <a:pt x="160" y="136"/>
                    </a:lnTo>
                    <a:lnTo>
                      <a:pt x="144" y="136"/>
                    </a:lnTo>
                    <a:lnTo>
                      <a:pt x="120" y="144"/>
                    </a:lnTo>
                    <a:lnTo>
                      <a:pt x="136" y="160"/>
                    </a:lnTo>
                    <a:lnTo>
                      <a:pt x="96" y="152"/>
                    </a:lnTo>
                    <a:lnTo>
                      <a:pt x="88" y="152"/>
                    </a:lnTo>
                    <a:lnTo>
                      <a:pt x="104" y="160"/>
                    </a:lnTo>
                    <a:lnTo>
                      <a:pt x="112" y="168"/>
                    </a:lnTo>
                    <a:lnTo>
                      <a:pt x="96" y="168"/>
                    </a:lnTo>
                    <a:lnTo>
                      <a:pt x="72" y="160"/>
                    </a:lnTo>
                    <a:lnTo>
                      <a:pt x="72" y="144"/>
                    </a:lnTo>
                    <a:lnTo>
                      <a:pt x="40" y="128"/>
                    </a:lnTo>
                    <a:lnTo>
                      <a:pt x="104" y="136"/>
                    </a:lnTo>
                    <a:lnTo>
                      <a:pt x="136" y="128"/>
                    </a:lnTo>
                    <a:lnTo>
                      <a:pt x="128" y="120"/>
                    </a:lnTo>
                    <a:lnTo>
                      <a:pt x="80" y="104"/>
                    </a:lnTo>
                    <a:lnTo>
                      <a:pt x="40" y="88"/>
                    </a:lnTo>
                    <a:lnTo>
                      <a:pt x="24" y="96"/>
                    </a:lnTo>
                    <a:lnTo>
                      <a:pt x="8" y="104"/>
                    </a:lnTo>
                    <a:lnTo>
                      <a:pt x="0" y="104"/>
                    </a:lnTo>
                    <a:lnTo>
                      <a:pt x="0" y="112"/>
                    </a:lnTo>
                    <a:lnTo>
                      <a:pt x="16" y="120"/>
                    </a:lnTo>
                    <a:lnTo>
                      <a:pt x="16" y="128"/>
                    </a:lnTo>
                    <a:lnTo>
                      <a:pt x="24" y="144"/>
                    </a:lnTo>
                    <a:lnTo>
                      <a:pt x="24" y="152"/>
                    </a:lnTo>
                    <a:lnTo>
                      <a:pt x="32" y="160"/>
                    </a:lnTo>
                    <a:lnTo>
                      <a:pt x="32" y="168"/>
                    </a:lnTo>
                    <a:lnTo>
                      <a:pt x="40" y="184"/>
                    </a:lnTo>
                    <a:lnTo>
                      <a:pt x="8" y="216"/>
                    </a:lnTo>
                    <a:lnTo>
                      <a:pt x="16" y="216"/>
                    </a:lnTo>
                    <a:lnTo>
                      <a:pt x="24" y="224"/>
                    </a:lnTo>
                    <a:lnTo>
                      <a:pt x="16" y="232"/>
                    </a:lnTo>
                    <a:lnTo>
                      <a:pt x="8" y="232"/>
                    </a:lnTo>
                    <a:lnTo>
                      <a:pt x="0" y="240"/>
                    </a:lnTo>
                    <a:lnTo>
                      <a:pt x="8" y="248"/>
                    </a:lnTo>
                    <a:lnTo>
                      <a:pt x="8" y="256"/>
                    </a:lnTo>
                    <a:lnTo>
                      <a:pt x="24" y="272"/>
                    </a:lnTo>
                    <a:lnTo>
                      <a:pt x="48" y="280"/>
                    </a:lnTo>
                    <a:lnTo>
                      <a:pt x="56" y="296"/>
                    </a:lnTo>
                    <a:lnTo>
                      <a:pt x="64" y="312"/>
                    </a:lnTo>
                    <a:lnTo>
                      <a:pt x="72" y="312"/>
                    </a:lnTo>
                    <a:lnTo>
                      <a:pt x="72" y="320"/>
                    </a:lnTo>
                    <a:lnTo>
                      <a:pt x="56" y="320"/>
                    </a:lnTo>
                    <a:lnTo>
                      <a:pt x="64" y="336"/>
                    </a:lnTo>
                    <a:lnTo>
                      <a:pt x="88" y="328"/>
                    </a:lnTo>
                    <a:lnTo>
                      <a:pt x="96" y="336"/>
                    </a:lnTo>
                    <a:lnTo>
                      <a:pt x="96" y="344"/>
                    </a:lnTo>
                    <a:lnTo>
                      <a:pt x="104" y="344"/>
                    </a:lnTo>
                    <a:lnTo>
                      <a:pt x="112" y="360"/>
                    </a:lnTo>
                    <a:lnTo>
                      <a:pt x="136" y="360"/>
                    </a:lnTo>
                    <a:lnTo>
                      <a:pt x="144" y="368"/>
                    </a:lnTo>
                    <a:lnTo>
                      <a:pt x="168" y="368"/>
                    </a:lnTo>
                    <a:lnTo>
                      <a:pt x="168" y="376"/>
                    </a:lnTo>
                    <a:lnTo>
                      <a:pt x="168" y="384"/>
                    </a:lnTo>
                    <a:lnTo>
                      <a:pt x="168" y="400"/>
                    </a:lnTo>
                    <a:lnTo>
                      <a:pt x="160" y="392"/>
                    </a:lnTo>
                    <a:lnTo>
                      <a:pt x="152" y="400"/>
                    </a:lnTo>
                    <a:lnTo>
                      <a:pt x="152" y="408"/>
                    </a:lnTo>
                    <a:lnTo>
                      <a:pt x="168" y="408"/>
                    </a:lnTo>
                    <a:lnTo>
                      <a:pt x="144" y="416"/>
                    </a:lnTo>
                    <a:lnTo>
                      <a:pt x="152" y="416"/>
                    </a:lnTo>
                    <a:lnTo>
                      <a:pt x="144" y="432"/>
                    </a:lnTo>
                    <a:lnTo>
                      <a:pt x="136" y="432"/>
                    </a:lnTo>
                    <a:lnTo>
                      <a:pt x="136" y="440"/>
                    </a:lnTo>
                    <a:lnTo>
                      <a:pt x="144" y="440"/>
                    </a:lnTo>
                    <a:lnTo>
                      <a:pt x="184" y="464"/>
                    </a:lnTo>
                    <a:lnTo>
                      <a:pt x="216" y="464"/>
                    </a:lnTo>
                    <a:lnTo>
                      <a:pt x="232" y="472"/>
                    </a:lnTo>
                    <a:lnTo>
                      <a:pt x="248" y="472"/>
                    </a:lnTo>
                    <a:lnTo>
                      <a:pt x="264" y="488"/>
                    </a:lnTo>
                    <a:lnTo>
                      <a:pt x="272" y="496"/>
                    </a:lnTo>
                    <a:lnTo>
                      <a:pt x="280" y="496"/>
                    </a:lnTo>
                    <a:lnTo>
                      <a:pt x="288" y="488"/>
                    </a:lnTo>
                    <a:lnTo>
                      <a:pt x="272" y="472"/>
                    </a:lnTo>
                    <a:lnTo>
                      <a:pt x="272" y="456"/>
                    </a:lnTo>
                    <a:lnTo>
                      <a:pt x="256" y="440"/>
                    </a:lnTo>
                    <a:lnTo>
                      <a:pt x="264" y="424"/>
                    </a:lnTo>
                    <a:lnTo>
                      <a:pt x="272" y="424"/>
                    </a:lnTo>
                    <a:lnTo>
                      <a:pt x="280" y="416"/>
                    </a:lnTo>
                    <a:lnTo>
                      <a:pt x="272" y="416"/>
                    </a:lnTo>
                    <a:lnTo>
                      <a:pt x="280" y="416"/>
                    </a:lnTo>
                    <a:lnTo>
                      <a:pt x="272" y="400"/>
                    </a:lnTo>
                    <a:lnTo>
                      <a:pt x="256" y="400"/>
                    </a:lnTo>
                    <a:lnTo>
                      <a:pt x="256" y="392"/>
                    </a:lnTo>
                    <a:lnTo>
                      <a:pt x="248" y="384"/>
                    </a:lnTo>
                    <a:lnTo>
                      <a:pt x="256" y="360"/>
                    </a:lnTo>
                    <a:lnTo>
                      <a:pt x="264" y="368"/>
                    </a:lnTo>
                    <a:lnTo>
                      <a:pt x="272" y="368"/>
                    </a:lnTo>
                    <a:lnTo>
                      <a:pt x="264" y="352"/>
                    </a:lnTo>
                    <a:lnTo>
                      <a:pt x="272" y="352"/>
                    </a:lnTo>
                    <a:lnTo>
                      <a:pt x="288" y="344"/>
                    </a:lnTo>
                    <a:lnTo>
                      <a:pt x="296" y="344"/>
                    </a:lnTo>
                    <a:lnTo>
                      <a:pt x="304" y="336"/>
                    </a:lnTo>
                    <a:lnTo>
                      <a:pt x="320" y="344"/>
                    </a:lnTo>
                    <a:lnTo>
                      <a:pt x="336" y="360"/>
                    </a:lnTo>
                    <a:lnTo>
                      <a:pt x="336" y="352"/>
                    </a:lnTo>
                    <a:lnTo>
                      <a:pt x="344" y="352"/>
                    </a:lnTo>
                    <a:lnTo>
                      <a:pt x="360" y="352"/>
                    </a:lnTo>
                    <a:lnTo>
                      <a:pt x="376" y="352"/>
                    </a:lnTo>
                    <a:lnTo>
                      <a:pt x="392" y="352"/>
                    </a:lnTo>
                    <a:lnTo>
                      <a:pt x="408" y="352"/>
                    </a:lnTo>
                    <a:lnTo>
                      <a:pt x="416" y="344"/>
                    </a:lnTo>
                    <a:lnTo>
                      <a:pt x="392" y="336"/>
                    </a:lnTo>
                    <a:lnTo>
                      <a:pt x="400" y="328"/>
                    </a:lnTo>
                    <a:lnTo>
                      <a:pt x="392" y="328"/>
                    </a:lnTo>
                    <a:lnTo>
                      <a:pt x="400" y="320"/>
                    </a:lnTo>
                    <a:lnTo>
                      <a:pt x="400" y="312"/>
                    </a:lnTo>
                    <a:lnTo>
                      <a:pt x="392" y="312"/>
                    </a:lnTo>
                    <a:lnTo>
                      <a:pt x="392" y="304"/>
                    </a:lnTo>
                    <a:lnTo>
                      <a:pt x="408" y="304"/>
                    </a:lnTo>
                    <a:lnTo>
                      <a:pt x="448" y="296"/>
                    </a:lnTo>
                    <a:lnTo>
                      <a:pt x="472" y="296"/>
                    </a:lnTo>
                    <a:lnTo>
                      <a:pt x="472" y="288"/>
                    </a:lnTo>
                    <a:lnTo>
                      <a:pt x="496" y="288"/>
                    </a:lnTo>
                    <a:lnTo>
                      <a:pt x="504" y="296"/>
                    </a:lnTo>
                    <a:lnTo>
                      <a:pt x="504" y="304"/>
                    </a:lnTo>
                    <a:lnTo>
                      <a:pt x="520" y="304"/>
                    </a:lnTo>
                    <a:lnTo>
                      <a:pt x="536" y="304"/>
                    </a:lnTo>
                    <a:lnTo>
                      <a:pt x="536" y="312"/>
                    </a:lnTo>
                    <a:lnTo>
                      <a:pt x="544" y="312"/>
                    </a:lnTo>
                    <a:lnTo>
                      <a:pt x="560" y="304"/>
                    </a:lnTo>
                    <a:lnTo>
                      <a:pt x="568" y="304"/>
                    </a:lnTo>
                    <a:lnTo>
                      <a:pt x="592" y="320"/>
                    </a:lnTo>
                    <a:lnTo>
                      <a:pt x="624" y="352"/>
                    </a:lnTo>
                    <a:lnTo>
                      <a:pt x="632" y="344"/>
                    </a:lnTo>
                    <a:lnTo>
                      <a:pt x="640" y="352"/>
                    </a:lnTo>
                    <a:lnTo>
                      <a:pt x="664" y="352"/>
                    </a:lnTo>
                    <a:lnTo>
                      <a:pt x="696" y="368"/>
                    </a:lnTo>
                    <a:lnTo>
                      <a:pt x="704" y="376"/>
                    </a:lnTo>
                    <a:lnTo>
                      <a:pt x="712" y="368"/>
                    </a:lnTo>
                    <a:lnTo>
                      <a:pt x="720" y="376"/>
                    </a:lnTo>
                    <a:lnTo>
                      <a:pt x="720" y="384"/>
                    </a:lnTo>
                    <a:lnTo>
                      <a:pt x="728" y="376"/>
                    </a:lnTo>
                    <a:lnTo>
                      <a:pt x="768" y="352"/>
                    </a:lnTo>
                    <a:lnTo>
                      <a:pt x="792" y="360"/>
                    </a:lnTo>
                    <a:lnTo>
                      <a:pt x="808" y="368"/>
                    </a:lnTo>
                    <a:lnTo>
                      <a:pt x="840" y="368"/>
                    </a:lnTo>
                    <a:lnTo>
                      <a:pt x="840" y="352"/>
                    </a:lnTo>
                    <a:lnTo>
                      <a:pt x="832" y="344"/>
                    </a:lnTo>
                    <a:lnTo>
                      <a:pt x="840" y="336"/>
                    </a:lnTo>
                    <a:lnTo>
                      <a:pt x="872" y="344"/>
                    </a:lnTo>
                    <a:lnTo>
                      <a:pt x="896" y="360"/>
                    </a:lnTo>
                    <a:lnTo>
                      <a:pt x="928" y="360"/>
                    </a:lnTo>
                    <a:lnTo>
                      <a:pt x="984" y="376"/>
                    </a:lnTo>
                    <a:lnTo>
                      <a:pt x="1016" y="368"/>
                    </a:lnTo>
                    <a:lnTo>
                      <a:pt x="1032" y="360"/>
                    </a:lnTo>
                    <a:lnTo>
                      <a:pt x="1056" y="368"/>
                    </a:lnTo>
                    <a:lnTo>
                      <a:pt x="1072" y="368"/>
                    </a:lnTo>
                    <a:lnTo>
                      <a:pt x="1088" y="360"/>
                    </a:lnTo>
                    <a:lnTo>
                      <a:pt x="1080" y="344"/>
                    </a:lnTo>
                    <a:lnTo>
                      <a:pt x="1088" y="336"/>
                    </a:lnTo>
                    <a:lnTo>
                      <a:pt x="1072" y="328"/>
                    </a:lnTo>
                    <a:lnTo>
                      <a:pt x="1080" y="320"/>
                    </a:lnTo>
                    <a:lnTo>
                      <a:pt x="1104" y="312"/>
                    </a:lnTo>
                    <a:lnTo>
                      <a:pt x="1136" y="320"/>
                    </a:lnTo>
                    <a:lnTo>
                      <a:pt x="1168" y="352"/>
                    </a:lnTo>
                    <a:lnTo>
                      <a:pt x="1184" y="368"/>
                    </a:lnTo>
                    <a:lnTo>
                      <a:pt x="1208" y="376"/>
                    </a:lnTo>
                    <a:lnTo>
                      <a:pt x="1232" y="384"/>
                    </a:lnTo>
                    <a:lnTo>
                      <a:pt x="1248" y="400"/>
                    </a:lnTo>
                    <a:lnTo>
                      <a:pt x="1256" y="400"/>
                    </a:lnTo>
                    <a:lnTo>
                      <a:pt x="1280" y="384"/>
                    </a:lnTo>
                    <a:lnTo>
                      <a:pt x="1288" y="400"/>
                    </a:lnTo>
                    <a:lnTo>
                      <a:pt x="1288" y="408"/>
                    </a:lnTo>
                    <a:lnTo>
                      <a:pt x="1296" y="440"/>
                    </a:lnTo>
                    <a:lnTo>
                      <a:pt x="1280" y="432"/>
                    </a:lnTo>
                    <a:lnTo>
                      <a:pt x="1272" y="440"/>
                    </a:lnTo>
                    <a:lnTo>
                      <a:pt x="1288" y="464"/>
                    </a:lnTo>
                    <a:lnTo>
                      <a:pt x="1288" y="472"/>
                    </a:lnTo>
                    <a:lnTo>
                      <a:pt x="1296" y="464"/>
                    </a:lnTo>
                    <a:lnTo>
                      <a:pt x="1312" y="472"/>
                    </a:lnTo>
                    <a:lnTo>
                      <a:pt x="1328" y="464"/>
                    </a:lnTo>
                    <a:lnTo>
                      <a:pt x="1328" y="448"/>
                    </a:lnTo>
                    <a:lnTo>
                      <a:pt x="1344" y="432"/>
                    </a:lnTo>
                    <a:lnTo>
                      <a:pt x="1344" y="384"/>
                    </a:lnTo>
                    <a:lnTo>
                      <a:pt x="1320" y="352"/>
                    </a:lnTo>
                    <a:lnTo>
                      <a:pt x="1304" y="320"/>
                    </a:lnTo>
                    <a:lnTo>
                      <a:pt x="1272" y="304"/>
                    </a:lnTo>
                    <a:lnTo>
                      <a:pt x="1264" y="312"/>
                    </a:lnTo>
                    <a:lnTo>
                      <a:pt x="1256" y="312"/>
                    </a:lnTo>
                    <a:lnTo>
                      <a:pt x="1256" y="304"/>
                    </a:lnTo>
                    <a:lnTo>
                      <a:pt x="1248" y="304"/>
                    </a:lnTo>
                    <a:lnTo>
                      <a:pt x="1248" y="312"/>
                    </a:lnTo>
                    <a:lnTo>
                      <a:pt x="1240" y="296"/>
                    </a:lnTo>
                    <a:lnTo>
                      <a:pt x="1216" y="296"/>
                    </a:lnTo>
                    <a:lnTo>
                      <a:pt x="1232" y="280"/>
                    </a:lnTo>
                    <a:lnTo>
                      <a:pt x="1240" y="232"/>
                    </a:lnTo>
                    <a:lnTo>
                      <a:pt x="1256" y="232"/>
                    </a:lnTo>
                    <a:lnTo>
                      <a:pt x="1312" y="232"/>
                    </a:lnTo>
                    <a:lnTo>
                      <a:pt x="1312" y="224"/>
                    </a:lnTo>
                    <a:lnTo>
                      <a:pt x="1336" y="224"/>
                    </a:lnTo>
                    <a:lnTo>
                      <a:pt x="1344" y="240"/>
                    </a:lnTo>
                    <a:lnTo>
                      <a:pt x="1384" y="232"/>
                    </a:lnTo>
                    <a:lnTo>
                      <a:pt x="1368" y="232"/>
                    </a:lnTo>
                    <a:lnTo>
                      <a:pt x="1360" y="224"/>
                    </a:lnTo>
                    <a:lnTo>
                      <a:pt x="1368" y="200"/>
                    </a:lnTo>
                    <a:lnTo>
                      <a:pt x="1400" y="200"/>
                    </a:lnTo>
                    <a:lnTo>
                      <a:pt x="1400" y="208"/>
                    </a:lnTo>
                    <a:lnTo>
                      <a:pt x="1416" y="216"/>
                    </a:lnTo>
                    <a:lnTo>
                      <a:pt x="1424" y="200"/>
                    </a:lnTo>
                    <a:lnTo>
                      <a:pt x="1416" y="184"/>
                    </a:lnTo>
                    <a:lnTo>
                      <a:pt x="1432" y="184"/>
                    </a:lnTo>
                    <a:lnTo>
                      <a:pt x="1432" y="192"/>
                    </a:lnTo>
                    <a:lnTo>
                      <a:pt x="1448" y="208"/>
                    </a:lnTo>
                    <a:lnTo>
                      <a:pt x="1440" y="216"/>
                    </a:lnTo>
                    <a:lnTo>
                      <a:pt x="1432" y="248"/>
                    </a:lnTo>
                    <a:lnTo>
                      <a:pt x="1424" y="256"/>
                    </a:lnTo>
                    <a:lnTo>
                      <a:pt x="1432" y="264"/>
                    </a:lnTo>
                    <a:lnTo>
                      <a:pt x="1424" y="264"/>
                    </a:lnTo>
                    <a:lnTo>
                      <a:pt x="1440" y="288"/>
                    </a:lnTo>
                    <a:lnTo>
                      <a:pt x="1512" y="352"/>
                    </a:lnTo>
                    <a:lnTo>
                      <a:pt x="1512" y="344"/>
                    </a:lnTo>
                    <a:lnTo>
                      <a:pt x="1512" y="320"/>
                    </a:lnTo>
                    <a:lnTo>
                      <a:pt x="1520" y="320"/>
                    </a:lnTo>
                    <a:lnTo>
                      <a:pt x="1504" y="304"/>
                    </a:lnTo>
                    <a:lnTo>
                      <a:pt x="1520" y="296"/>
                    </a:lnTo>
                    <a:lnTo>
                      <a:pt x="1504" y="280"/>
                    </a:lnTo>
                    <a:lnTo>
                      <a:pt x="1512" y="272"/>
                    </a:lnTo>
                    <a:lnTo>
                      <a:pt x="1496" y="264"/>
                    </a:lnTo>
                    <a:lnTo>
                      <a:pt x="1488" y="256"/>
                    </a:lnTo>
                    <a:lnTo>
                      <a:pt x="1480" y="256"/>
                    </a:lnTo>
                    <a:lnTo>
                      <a:pt x="1472" y="248"/>
                    </a:lnTo>
                    <a:lnTo>
                      <a:pt x="1472" y="232"/>
                    </a:lnTo>
                    <a:lnTo>
                      <a:pt x="1464" y="224"/>
                    </a:lnTo>
                    <a:lnTo>
                      <a:pt x="1472" y="224"/>
                    </a:lnTo>
                    <a:lnTo>
                      <a:pt x="1480" y="216"/>
                    </a:lnTo>
                    <a:lnTo>
                      <a:pt x="1496" y="224"/>
                    </a:lnTo>
                    <a:lnTo>
                      <a:pt x="1496" y="216"/>
                    </a:lnTo>
                    <a:lnTo>
                      <a:pt x="1504" y="216"/>
                    </a:lnTo>
                    <a:lnTo>
                      <a:pt x="1536" y="224"/>
                    </a:lnTo>
                    <a:lnTo>
                      <a:pt x="1528" y="216"/>
                    </a:lnTo>
                    <a:lnTo>
                      <a:pt x="1552" y="192"/>
                    </a:lnTo>
                    <a:lnTo>
                      <a:pt x="1560" y="184"/>
                    </a:lnTo>
                    <a:lnTo>
                      <a:pt x="1584" y="192"/>
                    </a:lnTo>
                    <a:lnTo>
                      <a:pt x="1584" y="184"/>
                    </a:lnTo>
                    <a:lnTo>
                      <a:pt x="1528" y="160"/>
                    </a:lnTo>
                    <a:lnTo>
                      <a:pt x="1544" y="160"/>
                    </a:lnTo>
                    <a:lnTo>
                      <a:pt x="1544" y="152"/>
                    </a:lnTo>
                    <a:lnTo>
                      <a:pt x="1544" y="144"/>
                    </a:lnTo>
                    <a:lnTo>
                      <a:pt x="1528" y="144"/>
                    </a:lnTo>
                    <a:lnTo>
                      <a:pt x="1536" y="136"/>
                    </a:lnTo>
                    <a:lnTo>
                      <a:pt x="1552" y="144"/>
                    </a:lnTo>
                    <a:lnTo>
                      <a:pt x="1584" y="152"/>
                    </a:lnTo>
                    <a:lnTo>
                      <a:pt x="1632" y="160"/>
                    </a:lnTo>
                    <a:lnTo>
                      <a:pt x="1616" y="144"/>
                    </a:lnTo>
                    <a:lnTo>
                      <a:pt x="1632" y="144"/>
                    </a:lnTo>
                    <a:lnTo>
                      <a:pt x="1632" y="136"/>
                    </a:lnTo>
                    <a:lnTo>
                      <a:pt x="1592" y="128"/>
                    </a:lnTo>
                    <a:lnTo>
                      <a:pt x="1568" y="128"/>
                    </a:lnTo>
                    <a:lnTo>
                      <a:pt x="1472" y="104"/>
                    </a:lnTo>
                    <a:lnTo>
                      <a:pt x="1424" y="88"/>
                    </a:lnTo>
                    <a:lnTo>
                      <a:pt x="1360" y="88"/>
                    </a:lnTo>
                    <a:lnTo>
                      <a:pt x="1384" y="104"/>
                    </a:lnTo>
                    <a:lnTo>
                      <a:pt x="1376" y="104"/>
                    </a:lnTo>
                    <a:lnTo>
                      <a:pt x="1352" y="96"/>
                    </a:lnTo>
                    <a:lnTo>
                      <a:pt x="1360" y="96"/>
                    </a:lnTo>
                    <a:lnTo>
                      <a:pt x="1360" y="88"/>
                    </a:lnTo>
                    <a:lnTo>
                      <a:pt x="1344" y="88"/>
                    </a:lnTo>
                    <a:lnTo>
                      <a:pt x="1344" y="96"/>
                    </a:lnTo>
                    <a:lnTo>
                      <a:pt x="1280" y="96"/>
                    </a:lnTo>
                    <a:lnTo>
                      <a:pt x="1256" y="88"/>
                    </a:lnTo>
                    <a:lnTo>
                      <a:pt x="1232" y="80"/>
                    </a:lnTo>
                    <a:lnTo>
                      <a:pt x="1176" y="80"/>
                    </a:lnTo>
                    <a:lnTo>
                      <a:pt x="1128" y="64"/>
                    </a:lnTo>
                    <a:lnTo>
                      <a:pt x="1032" y="56"/>
                    </a:lnTo>
                    <a:lnTo>
                      <a:pt x="1032" y="64"/>
                    </a:lnTo>
                    <a:lnTo>
                      <a:pt x="1048" y="72"/>
                    </a:lnTo>
                    <a:lnTo>
                      <a:pt x="1008" y="64"/>
                    </a:lnTo>
                    <a:lnTo>
                      <a:pt x="1000" y="72"/>
                    </a:lnTo>
                    <a:lnTo>
                      <a:pt x="968" y="64"/>
                    </a:lnTo>
                    <a:lnTo>
                      <a:pt x="976" y="72"/>
                    </a:lnTo>
                    <a:lnTo>
                      <a:pt x="976" y="80"/>
                    </a:lnTo>
                    <a:lnTo>
                      <a:pt x="936" y="64"/>
                    </a:lnTo>
                    <a:lnTo>
                      <a:pt x="936" y="56"/>
                    </a:lnTo>
                    <a:lnTo>
                      <a:pt x="912" y="48"/>
                    </a:lnTo>
                    <a:lnTo>
                      <a:pt x="856" y="40"/>
                    </a:lnTo>
                    <a:lnTo>
                      <a:pt x="872" y="48"/>
                    </a:lnTo>
                    <a:lnTo>
                      <a:pt x="840" y="48"/>
                    </a:lnTo>
                    <a:lnTo>
                      <a:pt x="824" y="48"/>
                    </a:lnTo>
                    <a:lnTo>
                      <a:pt x="816" y="48"/>
                    </a:lnTo>
                    <a:lnTo>
                      <a:pt x="776" y="48"/>
                    </a:lnTo>
                    <a:lnTo>
                      <a:pt x="760" y="32"/>
                    </a:lnTo>
                    <a:lnTo>
                      <a:pt x="744" y="32"/>
                    </a:lnTo>
                    <a:lnTo>
                      <a:pt x="768" y="40"/>
                    </a:lnTo>
                    <a:lnTo>
                      <a:pt x="736" y="40"/>
                    </a:lnTo>
                    <a:lnTo>
                      <a:pt x="744" y="48"/>
                    </a:lnTo>
                    <a:lnTo>
                      <a:pt x="712" y="48"/>
                    </a:lnTo>
                    <a:lnTo>
                      <a:pt x="752" y="24"/>
                    </a:lnTo>
                    <a:lnTo>
                      <a:pt x="744" y="16"/>
                    </a:lnTo>
                    <a:lnTo>
                      <a:pt x="712" y="8"/>
                    </a:lnTo>
                    <a:lnTo>
                      <a:pt x="672" y="8"/>
                    </a:lnTo>
                    <a:lnTo>
                      <a:pt x="656" y="0"/>
                    </a:lnTo>
                    <a:lnTo>
                      <a:pt x="632" y="0"/>
                    </a:lnTo>
                    <a:lnTo>
                      <a:pt x="616" y="8"/>
                    </a:lnTo>
                    <a:lnTo>
                      <a:pt x="616" y="16"/>
                    </a:lnTo>
                    <a:lnTo>
                      <a:pt x="560" y="16"/>
                    </a:lnTo>
                    <a:lnTo>
                      <a:pt x="528" y="24"/>
                    </a:lnTo>
                    <a:lnTo>
                      <a:pt x="512" y="32"/>
                    </a:lnTo>
                    <a:lnTo>
                      <a:pt x="528" y="40"/>
                    </a:lnTo>
                    <a:lnTo>
                      <a:pt x="472" y="48"/>
                    </a:lnTo>
                    <a:lnTo>
                      <a:pt x="480" y="56"/>
                    </a:lnTo>
                    <a:lnTo>
                      <a:pt x="504" y="64"/>
                    </a:lnTo>
                    <a:lnTo>
                      <a:pt x="496" y="64"/>
                    </a:lnTo>
                    <a:lnTo>
                      <a:pt x="448" y="56"/>
                    </a:lnTo>
                    <a:lnTo>
                      <a:pt x="440" y="64"/>
                    </a:lnTo>
                    <a:lnTo>
                      <a:pt x="472" y="80"/>
                    </a:lnTo>
                    <a:lnTo>
                      <a:pt x="440" y="72"/>
                    </a:lnTo>
                    <a:lnTo>
                      <a:pt x="432" y="56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5" name="Freeform 153">
                <a:extLst>
                  <a:ext uri="{FF2B5EF4-FFF2-40B4-BE49-F238E27FC236}">
                    <a16:creationId xmlns:a16="http://schemas.microsoft.com/office/drawing/2014/main" id="{AD7C3B5F-599C-5723-1E02-3FD4AAF7A8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0" y="1944"/>
                <a:ext cx="224" cy="128"/>
              </a:xfrm>
              <a:custGeom>
                <a:avLst/>
                <a:gdLst>
                  <a:gd name="T0" fmla="*/ 152 w 224"/>
                  <a:gd name="T1" fmla="*/ 120 h 128"/>
                  <a:gd name="T2" fmla="*/ 168 w 224"/>
                  <a:gd name="T3" fmla="*/ 128 h 128"/>
                  <a:gd name="T4" fmla="*/ 176 w 224"/>
                  <a:gd name="T5" fmla="*/ 112 h 128"/>
                  <a:gd name="T6" fmla="*/ 168 w 224"/>
                  <a:gd name="T7" fmla="*/ 96 h 128"/>
                  <a:gd name="T8" fmla="*/ 160 w 224"/>
                  <a:gd name="T9" fmla="*/ 88 h 128"/>
                  <a:gd name="T10" fmla="*/ 176 w 224"/>
                  <a:gd name="T11" fmla="*/ 88 h 128"/>
                  <a:gd name="T12" fmla="*/ 176 w 224"/>
                  <a:gd name="T13" fmla="*/ 80 h 128"/>
                  <a:gd name="T14" fmla="*/ 176 w 224"/>
                  <a:gd name="T15" fmla="*/ 72 h 128"/>
                  <a:gd name="T16" fmla="*/ 192 w 224"/>
                  <a:gd name="T17" fmla="*/ 64 h 128"/>
                  <a:gd name="T18" fmla="*/ 192 w 224"/>
                  <a:gd name="T19" fmla="*/ 80 h 128"/>
                  <a:gd name="T20" fmla="*/ 200 w 224"/>
                  <a:gd name="T21" fmla="*/ 80 h 128"/>
                  <a:gd name="T22" fmla="*/ 208 w 224"/>
                  <a:gd name="T23" fmla="*/ 80 h 128"/>
                  <a:gd name="T24" fmla="*/ 224 w 224"/>
                  <a:gd name="T25" fmla="*/ 72 h 128"/>
                  <a:gd name="T26" fmla="*/ 200 w 224"/>
                  <a:gd name="T27" fmla="*/ 56 h 128"/>
                  <a:gd name="T28" fmla="*/ 200 w 224"/>
                  <a:gd name="T29" fmla="*/ 64 h 128"/>
                  <a:gd name="T30" fmla="*/ 184 w 224"/>
                  <a:gd name="T31" fmla="*/ 56 h 128"/>
                  <a:gd name="T32" fmla="*/ 192 w 224"/>
                  <a:gd name="T33" fmla="*/ 48 h 128"/>
                  <a:gd name="T34" fmla="*/ 168 w 224"/>
                  <a:gd name="T35" fmla="*/ 64 h 128"/>
                  <a:gd name="T36" fmla="*/ 144 w 224"/>
                  <a:gd name="T37" fmla="*/ 64 h 128"/>
                  <a:gd name="T38" fmla="*/ 144 w 224"/>
                  <a:gd name="T39" fmla="*/ 56 h 128"/>
                  <a:gd name="T40" fmla="*/ 136 w 224"/>
                  <a:gd name="T41" fmla="*/ 56 h 128"/>
                  <a:gd name="T42" fmla="*/ 128 w 224"/>
                  <a:gd name="T43" fmla="*/ 40 h 128"/>
                  <a:gd name="T44" fmla="*/ 112 w 224"/>
                  <a:gd name="T45" fmla="*/ 24 h 128"/>
                  <a:gd name="T46" fmla="*/ 80 w 224"/>
                  <a:gd name="T47" fmla="*/ 32 h 128"/>
                  <a:gd name="T48" fmla="*/ 32 w 224"/>
                  <a:gd name="T49" fmla="*/ 0 h 128"/>
                  <a:gd name="T50" fmla="*/ 0 w 224"/>
                  <a:gd name="T51" fmla="*/ 8 h 128"/>
                  <a:gd name="T52" fmla="*/ 16 w 224"/>
                  <a:gd name="T53" fmla="*/ 64 h 128"/>
                  <a:gd name="T54" fmla="*/ 24 w 224"/>
                  <a:gd name="T55" fmla="*/ 64 h 128"/>
                  <a:gd name="T56" fmla="*/ 24 w 224"/>
                  <a:gd name="T57" fmla="*/ 56 h 128"/>
                  <a:gd name="T58" fmla="*/ 32 w 224"/>
                  <a:gd name="T59" fmla="*/ 40 h 128"/>
                  <a:gd name="T60" fmla="*/ 40 w 224"/>
                  <a:gd name="T61" fmla="*/ 40 h 128"/>
                  <a:gd name="T62" fmla="*/ 56 w 224"/>
                  <a:gd name="T63" fmla="*/ 48 h 128"/>
                  <a:gd name="T64" fmla="*/ 64 w 224"/>
                  <a:gd name="T65" fmla="*/ 64 h 128"/>
                  <a:gd name="T66" fmla="*/ 88 w 224"/>
                  <a:gd name="T67" fmla="*/ 64 h 128"/>
                  <a:gd name="T68" fmla="*/ 96 w 224"/>
                  <a:gd name="T69" fmla="*/ 80 h 128"/>
                  <a:gd name="T70" fmla="*/ 136 w 224"/>
                  <a:gd name="T71" fmla="*/ 104 h 128"/>
                  <a:gd name="T72" fmla="*/ 152 w 224"/>
                  <a:gd name="T73" fmla="*/ 112 h 128"/>
                  <a:gd name="T74" fmla="*/ 152 w 224"/>
                  <a:gd name="T75" fmla="*/ 120 h 12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24"/>
                  <a:gd name="T115" fmla="*/ 0 h 128"/>
                  <a:gd name="T116" fmla="*/ 224 w 224"/>
                  <a:gd name="T117" fmla="*/ 128 h 12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24" h="128">
                    <a:moveTo>
                      <a:pt x="152" y="120"/>
                    </a:moveTo>
                    <a:lnTo>
                      <a:pt x="168" y="128"/>
                    </a:lnTo>
                    <a:lnTo>
                      <a:pt x="176" y="112"/>
                    </a:lnTo>
                    <a:lnTo>
                      <a:pt x="168" y="96"/>
                    </a:lnTo>
                    <a:lnTo>
                      <a:pt x="160" y="88"/>
                    </a:lnTo>
                    <a:lnTo>
                      <a:pt x="176" y="88"/>
                    </a:lnTo>
                    <a:lnTo>
                      <a:pt x="176" y="80"/>
                    </a:lnTo>
                    <a:lnTo>
                      <a:pt x="176" y="72"/>
                    </a:lnTo>
                    <a:lnTo>
                      <a:pt x="192" y="64"/>
                    </a:lnTo>
                    <a:lnTo>
                      <a:pt x="192" y="80"/>
                    </a:lnTo>
                    <a:lnTo>
                      <a:pt x="200" y="80"/>
                    </a:lnTo>
                    <a:lnTo>
                      <a:pt x="208" y="80"/>
                    </a:lnTo>
                    <a:lnTo>
                      <a:pt x="224" y="72"/>
                    </a:lnTo>
                    <a:lnTo>
                      <a:pt x="200" y="56"/>
                    </a:lnTo>
                    <a:lnTo>
                      <a:pt x="200" y="64"/>
                    </a:lnTo>
                    <a:lnTo>
                      <a:pt x="184" y="56"/>
                    </a:lnTo>
                    <a:lnTo>
                      <a:pt x="192" y="48"/>
                    </a:lnTo>
                    <a:lnTo>
                      <a:pt x="168" y="64"/>
                    </a:lnTo>
                    <a:lnTo>
                      <a:pt x="144" y="64"/>
                    </a:lnTo>
                    <a:lnTo>
                      <a:pt x="144" y="56"/>
                    </a:lnTo>
                    <a:lnTo>
                      <a:pt x="136" y="56"/>
                    </a:lnTo>
                    <a:lnTo>
                      <a:pt x="128" y="40"/>
                    </a:lnTo>
                    <a:lnTo>
                      <a:pt x="112" y="24"/>
                    </a:lnTo>
                    <a:lnTo>
                      <a:pt x="80" y="32"/>
                    </a:lnTo>
                    <a:lnTo>
                      <a:pt x="32" y="0"/>
                    </a:lnTo>
                    <a:lnTo>
                      <a:pt x="0" y="8"/>
                    </a:lnTo>
                    <a:lnTo>
                      <a:pt x="16" y="64"/>
                    </a:lnTo>
                    <a:lnTo>
                      <a:pt x="24" y="64"/>
                    </a:lnTo>
                    <a:lnTo>
                      <a:pt x="24" y="56"/>
                    </a:lnTo>
                    <a:lnTo>
                      <a:pt x="32" y="40"/>
                    </a:lnTo>
                    <a:lnTo>
                      <a:pt x="40" y="40"/>
                    </a:lnTo>
                    <a:lnTo>
                      <a:pt x="56" y="48"/>
                    </a:lnTo>
                    <a:lnTo>
                      <a:pt x="64" y="64"/>
                    </a:lnTo>
                    <a:lnTo>
                      <a:pt x="88" y="64"/>
                    </a:lnTo>
                    <a:lnTo>
                      <a:pt x="96" y="80"/>
                    </a:lnTo>
                    <a:lnTo>
                      <a:pt x="136" y="104"/>
                    </a:lnTo>
                    <a:lnTo>
                      <a:pt x="152" y="112"/>
                    </a:lnTo>
                    <a:lnTo>
                      <a:pt x="152" y="12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6" name="Freeform 154">
                <a:extLst>
                  <a:ext uri="{FF2B5EF4-FFF2-40B4-BE49-F238E27FC236}">
                    <a16:creationId xmlns:a16="http://schemas.microsoft.com/office/drawing/2014/main" id="{CECB2CA5-A135-3060-B242-7ACEC1944D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0" y="2008"/>
                <a:ext cx="96" cy="64"/>
              </a:xfrm>
              <a:custGeom>
                <a:avLst/>
                <a:gdLst>
                  <a:gd name="T0" fmla="*/ 16 w 96"/>
                  <a:gd name="T1" fmla="*/ 64 h 64"/>
                  <a:gd name="T2" fmla="*/ 32 w 96"/>
                  <a:gd name="T3" fmla="*/ 56 h 64"/>
                  <a:gd name="T4" fmla="*/ 40 w 96"/>
                  <a:gd name="T5" fmla="*/ 56 h 64"/>
                  <a:gd name="T6" fmla="*/ 48 w 96"/>
                  <a:gd name="T7" fmla="*/ 40 h 64"/>
                  <a:gd name="T8" fmla="*/ 56 w 96"/>
                  <a:gd name="T9" fmla="*/ 48 h 64"/>
                  <a:gd name="T10" fmla="*/ 64 w 96"/>
                  <a:gd name="T11" fmla="*/ 64 h 64"/>
                  <a:gd name="T12" fmla="*/ 80 w 96"/>
                  <a:gd name="T13" fmla="*/ 56 h 64"/>
                  <a:gd name="T14" fmla="*/ 96 w 96"/>
                  <a:gd name="T15" fmla="*/ 56 h 64"/>
                  <a:gd name="T16" fmla="*/ 96 w 96"/>
                  <a:gd name="T17" fmla="*/ 40 h 64"/>
                  <a:gd name="T18" fmla="*/ 88 w 96"/>
                  <a:gd name="T19" fmla="*/ 40 h 64"/>
                  <a:gd name="T20" fmla="*/ 80 w 96"/>
                  <a:gd name="T21" fmla="*/ 32 h 64"/>
                  <a:gd name="T22" fmla="*/ 80 w 96"/>
                  <a:gd name="T23" fmla="*/ 24 h 64"/>
                  <a:gd name="T24" fmla="*/ 56 w 96"/>
                  <a:gd name="T25" fmla="*/ 32 h 64"/>
                  <a:gd name="T26" fmla="*/ 48 w 96"/>
                  <a:gd name="T27" fmla="*/ 24 h 64"/>
                  <a:gd name="T28" fmla="*/ 24 w 96"/>
                  <a:gd name="T29" fmla="*/ 24 h 64"/>
                  <a:gd name="T30" fmla="*/ 24 w 96"/>
                  <a:gd name="T31" fmla="*/ 16 h 64"/>
                  <a:gd name="T32" fmla="*/ 32 w 96"/>
                  <a:gd name="T33" fmla="*/ 16 h 64"/>
                  <a:gd name="T34" fmla="*/ 40 w 96"/>
                  <a:gd name="T35" fmla="*/ 16 h 64"/>
                  <a:gd name="T36" fmla="*/ 32 w 96"/>
                  <a:gd name="T37" fmla="*/ 16 h 64"/>
                  <a:gd name="T38" fmla="*/ 32 w 96"/>
                  <a:gd name="T39" fmla="*/ 0 h 64"/>
                  <a:gd name="T40" fmla="*/ 16 w 96"/>
                  <a:gd name="T41" fmla="*/ 8 h 64"/>
                  <a:gd name="T42" fmla="*/ 16 w 96"/>
                  <a:gd name="T43" fmla="*/ 16 h 64"/>
                  <a:gd name="T44" fmla="*/ 16 w 96"/>
                  <a:gd name="T45" fmla="*/ 24 h 64"/>
                  <a:gd name="T46" fmla="*/ 0 w 96"/>
                  <a:gd name="T47" fmla="*/ 24 h 64"/>
                  <a:gd name="T48" fmla="*/ 8 w 96"/>
                  <a:gd name="T49" fmla="*/ 32 h 64"/>
                  <a:gd name="T50" fmla="*/ 16 w 96"/>
                  <a:gd name="T51" fmla="*/ 48 h 64"/>
                  <a:gd name="T52" fmla="*/ 8 w 96"/>
                  <a:gd name="T53" fmla="*/ 64 h 64"/>
                  <a:gd name="T54" fmla="*/ 16 w 96"/>
                  <a:gd name="T55" fmla="*/ 64 h 6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96"/>
                  <a:gd name="T85" fmla="*/ 0 h 64"/>
                  <a:gd name="T86" fmla="*/ 96 w 96"/>
                  <a:gd name="T87" fmla="*/ 64 h 6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96" h="64">
                    <a:moveTo>
                      <a:pt x="16" y="64"/>
                    </a:moveTo>
                    <a:lnTo>
                      <a:pt x="32" y="56"/>
                    </a:lnTo>
                    <a:lnTo>
                      <a:pt x="40" y="56"/>
                    </a:lnTo>
                    <a:lnTo>
                      <a:pt x="48" y="40"/>
                    </a:lnTo>
                    <a:lnTo>
                      <a:pt x="56" y="48"/>
                    </a:lnTo>
                    <a:lnTo>
                      <a:pt x="64" y="64"/>
                    </a:lnTo>
                    <a:lnTo>
                      <a:pt x="80" y="56"/>
                    </a:lnTo>
                    <a:lnTo>
                      <a:pt x="96" y="56"/>
                    </a:lnTo>
                    <a:lnTo>
                      <a:pt x="96" y="40"/>
                    </a:lnTo>
                    <a:lnTo>
                      <a:pt x="88" y="40"/>
                    </a:lnTo>
                    <a:lnTo>
                      <a:pt x="80" y="32"/>
                    </a:lnTo>
                    <a:lnTo>
                      <a:pt x="80" y="24"/>
                    </a:lnTo>
                    <a:lnTo>
                      <a:pt x="56" y="32"/>
                    </a:lnTo>
                    <a:lnTo>
                      <a:pt x="48" y="24"/>
                    </a:lnTo>
                    <a:lnTo>
                      <a:pt x="24" y="24"/>
                    </a:lnTo>
                    <a:lnTo>
                      <a:pt x="24" y="16"/>
                    </a:lnTo>
                    <a:lnTo>
                      <a:pt x="32" y="16"/>
                    </a:lnTo>
                    <a:lnTo>
                      <a:pt x="40" y="16"/>
                    </a:lnTo>
                    <a:lnTo>
                      <a:pt x="32" y="16"/>
                    </a:lnTo>
                    <a:lnTo>
                      <a:pt x="32" y="0"/>
                    </a:lnTo>
                    <a:lnTo>
                      <a:pt x="16" y="8"/>
                    </a:lnTo>
                    <a:lnTo>
                      <a:pt x="16" y="16"/>
                    </a:lnTo>
                    <a:lnTo>
                      <a:pt x="16" y="24"/>
                    </a:lnTo>
                    <a:lnTo>
                      <a:pt x="0" y="24"/>
                    </a:lnTo>
                    <a:lnTo>
                      <a:pt x="8" y="32"/>
                    </a:lnTo>
                    <a:lnTo>
                      <a:pt x="16" y="48"/>
                    </a:lnTo>
                    <a:lnTo>
                      <a:pt x="8" y="64"/>
                    </a:lnTo>
                    <a:lnTo>
                      <a:pt x="16" y="6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7" name="Freeform 155">
                <a:extLst>
                  <a:ext uri="{FF2B5EF4-FFF2-40B4-BE49-F238E27FC236}">
                    <a16:creationId xmlns:a16="http://schemas.microsoft.com/office/drawing/2014/main" id="{D0C12BEA-5C7D-8EFD-EAA7-EEA3C6778D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976"/>
                <a:ext cx="120" cy="64"/>
              </a:xfrm>
              <a:custGeom>
                <a:avLst/>
                <a:gdLst>
                  <a:gd name="T0" fmla="*/ 16 w 120"/>
                  <a:gd name="T1" fmla="*/ 48 h 64"/>
                  <a:gd name="T2" fmla="*/ 8 w 120"/>
                  <a:gd name="T3" fmla="*/ 48 h 64"/>
                  <a:gd name="T4" fmla="*/ 0 w 120"/>
                  <a:gd name="T5" fmla="*/ 48 h 64"/>
                  <a:gd name="T6" fmla="*/ 0 w 120"/>
                  <a:gd name="T7" fmla="*/ 56 h 64"/>
                  <a:gd name="T8" fmla="*/ 24 w 120"/>
                  <a:gd name="T9" fmla="*/ 56 h 64"/>
                  <a:gd name="T10" fmla="*/ 32 w 120"/>
                  <a:gd name="T11" fmla="*/ 64 h 64"/>
                  <a:gd name="T12" fmla="*/ 56 w 120"/>
                  <a:gd name="T13" fmla="*/ 56 h 64"/>
                  <a:gd name="T14" fmla="*/ 56 w 120"/>
                  <a:gd name="T15" fmla="*/ 48 h 64"/>
                  <a:gd name="T16" fmla="*/ 64 w 120"/>
                  <a:gd name="T17" fmla="*/ 40 h 64"/>
                  <a:gd name="T18" fmla="*/ 88 w 120"/>
                  <a:gd name="T19" fmla="*/ 40 h 64"/>
                  <a:gd name="T20" fmla="*/ 88 w 120"/>
                  <a:gd name="T21" fmla="*/ 32 h 64"/>
                  <a:gd name="T22" fmla="*/ 104 w 120"/>
                  <a:gd name="T23" fmla="*/ 32 h 64"/>
                  <a:gd name="T24" fmla="*/ 120 w 120"/>
                  <a:gd name="T25" fmla="*/ 24 h 64"/>
                  <a:gd name="T26" fmla="*/ 120 w 120"/>
                  <a:gd name="T27" fmla="*/ 16 h 64"/>
                  <a:gd name="T28" fmla="*/ 104 w 120"/>
                  <a:gd name="T29" fmla="*/ 8 h 64"/>
                  <a:gd name="T30" fmla="*/ 56 w 120"/>
                  <a:gd name="T31" fmla="*/ 8 h 64"/>
                  <a:gd name="T32" fmla="*/ 40 w 120"/>
                  <a:gd name="T33" fmla="*/ 0 h 64"/>
                  <a:gd name="T34" fmla="*/ 40 w 120"/>
                  <a:gd name="T35" fmla="*/ 8 h 64"/>
                  <a:gd name="T36" fmla="*/ 32 w 120"/>
                  <a:gd name="T37" fmla="*/ 16 h 64"/>
                  <a:gd name="T38" fmla="*/ 8 w 120"/>
                  <a:gd name="T39" fmla="*/ 8 h 64"/>
                  <a:gd name="T40" fmla="*/ 8 w 120"/>
                  <a:gd name="T41" fmla="*/ 16 h 64"/>
                  <a:gd name="T42" fmla="*/ 0 w 120"/>
                  <a:gd name="T43" fmla="*/ 24 h 64"/>
                  <a:gd name="T44" fmla="*/ 16 w 120"/>
                  <a:gd name="T45" fmla="*/ 32 h 64"/>
                  <a:gd name="T46" fmla="*/ 16 w 120"/>
                  <a:gd name="T47" fmla="*/ 24 h 64"/>
                  <a:gd name="T48" fmla="*/ 40 w 120"/>
                  <a:gd name="T49" fmla="*/ 40 h 64"/>
                  <a:gd name="T50" fmla="*/ 24 w 120"/>
                  <a:gd name="T51" fmla="*/ 48 h 64"/>
                  <a:gd name="T52" fmla="*/ 16 w 120"/>
                  <a:gd name="T53" fmla="*/ 48 h 6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20"/>
                  <a:gd name="T82" fmla="*/ 0 h 64"/>
                  <a:gd name="T83" fmla="*/ 120 w 120"/>
                  <a:gd name="T84" fmla="*/ 64 h 6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20" h="64">
                    <a:moveTo>
                      <a:pt x="16" y="48"/>
                    </a:moveTo>
                    <a:lnTo>
                      <a:pt x="8" y="48"/>
                    </a:lnTo>
                    <a:lnTo>
                      <a:pt x="0" y="48"/>
                    </a:lnTo>
                    <a:lnTo>
                      <a:pt x="0" y="56"/>
                    </a:lnTo>
                    <a:lnTo>
                      <a:pt x="24" y="56"/>
                    </a:lnTo>
                    <a:lnTo>
                      <a:pt x="32" y="64"/>
                    </a:lnTo>
                    <a:lnTo>
                      <a:pt x="56" y="56"/>
                    </a:lnTo>
                    <a:lnTo>
                      <a:pt x="56" y="48"/>
                    </a:lnTo>
                    <a:lnTo>
                      <a:pt x="64" y="40"/>
                    </a:lnTo>
                    <a:lnTo>
                      <a:pt x="88" y="40"/>
                    </a:lnTo>
                    <a:lnTo>
                      <a:pt x="88" y="32"/>
                    </a:lnTo>
                    <a:lnTo>
                      <a:pt x="104" y="32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04" y="8"/>
                    </a:lnTo>
                    <a:lnTo>
                      <a:pt x="56" y="8"/>
                    </a:lnTo>
                    <a:lnTo>
                      <a:pt x="40" y="0"/>
                    </a:lnTo>
                    <a:lnTo>
                      <a:pt x="40" y="8"/>
                    </a:lnTo>
                    <a:lnTo>
                      <a:pt x="32" y="16"/>
                    </a:lnTo>
                    <a:lnTo>
                      <a:pt x="8" y="8"/>
                    </a:lnTo>
                    <a:lnTo>
                      <a:pt x="8" y="16"/>
                    </a:lnTo>
                    <a:lnTo>
                      <a:pt x="0" y="24"/>
                    </a:lnTo>
                    <a:lnTo>
                      <a:pt x="16" y="32"/>
                    </a:lnTo>
                    <a:lnTo>
                      <a:pt x="16" y="24"/>
                    </a:lnTo>
                    <a:lnTo>
                      <a:pt x="40" y="40"/>
                    </a:lnTo>
                    <a:lnTo>
                      <a:pt x="24" y="48"/>
                    </a:lnTo>
                    <a:lnTo>
                      <a:pt x="16" y="4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8" name="Freeform 156">
                <a:extLst>
                  <a:ext uri="{FF2B5EF4-FFF2-40B4-BE49-F238E27FC236}">
                    <a16:creationId xmlns:a16="http://schemas.microsoft.com/office/drawing/2014/main" id="{349EEFD0-C725-5DB3-64AF-B335C5632C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1984"/>
                <a:ext cx="184" cy="112"/>
              </a:xfrm>
              <a:custGeom>
                <a:avLst/>
                <a:gdLst>
                  <a:gd name="T0" fmla="*/ 48 w 184"/>
                  <a:gd name="T1" fmla="*/ 24 h 112"/>
                  <a:gd name="T2" fmla="*/ 56 w 184"/>
                  <a:gd name="T3" fmla="*/ 24 h 112"/>
                  <a:gd name="T4" fmla="*/ 56 w 184"/>
                  <a:gd name="T5" fmla="*/ 16 h 112"/>
                  <a:gd name="T6" fmla="*/ 64 w 184"/>
                  <a:gd name="T7" fmla="*/ 0 h 112"/>
                  <a:gd name="T8" fmla="*/ 72 w 184"/>
                  <a:gd name="T9" fmla="*/ 0 h 112"/>
                  <a:gd name="T10" fmla="*/ 88 w 184"/>
                  <a:gd name="T11" fmla="*/ 8 h 112"/>
                  <a:gd name="T12" fmla="*/ 96 w 184"/>
                  <a:gd name="T13" fmla="*/ 24 h 112"/>
                  <a:gd name="T14" fmla="*/ 120 w 184"/>
                  <a:gd name="T15" fmla="*/ 24 h 112"/>
                  <a:gd name="T16" fmla="*/ 128 w 184"/>
                  <a:gd name="T17" fmla="*/ 40 h 112"/>
                  <a:gd name="T18" fmla="*/ 168 w 184"/>
                  <a:gd name="T19" fmla="*/ 64 h 112"/>
                  <a:gd name="T20" fmla="*/ 184 w 184"/>
                  <a:gd name="T21" fmla="*/ 72 h 112"/>
                  <a:gd name="T22" fmla="*/ 184 w 184"/>
                  <a:gd name="T23" fmla="*/ 80 h 112"/>
                  <a:gd name="T24" fmla="*/ 176 w 184"/>
                  <a:gd name="T25" fmla="*/ 80 h 112"/>
                  <a:gd name="T26" fmla="*/ 168 w 184"/>
                  <a:gd name="T27" fmla="*/ 80 h 112"/>
                  <a:gd name="T28" fmla="*/ 168 w 184"/>
                  <a:gd name="T29" fmla="*/ 96 h 112"/>
                  <a:gd name="T30" fmla="*/ 152 w 184"/>
                  <a:gd name="T31" fmla="*/ 104 h 112"/>
                  <a:gd name="T32" fmla="*/ 144 w 184"/>
                  <a:gd name="T33" fmla="*/ 112 h 112"/>
                  <a:gd name="T34" fmla="*/ 128 w 184"/>
                  <a:gd name="T35" fmla="*/ 104 h 112"/>
                  <a:gd name="T36" fmla="*/ 128 w 184"/>
                  <a:gd name="T37" fmla="*/ 96 h 112"/>
                  <a:gd name="T38" fmla="*/ 64 w 184"/>
                  <a:gd name="T39" fmla="*/ 64 h 112"/>
                  <a:gd name="T40" fmla="*/ 48 w 184"/>
                  <a:gd name="T41" fmla="*/ 72 h 112"/>
                  <a:gd name="T42" fmla="*/ 32 w 184"/>
                  <a:gd name="T43" fmla="*/ 80 h 112"/>
                  <a:gd name="T44" fmla="*/ 24 w 184"/>
                  <a:gd name="T45" fmla="*/ 56 h 112"/>
                  <a:gd name="T46" fmla="*/ 16 w 184"/>
                  <a:gd name="T47" fmla="*/ 40 h 112"/>
                  <a:gd name="T48" fmla="*/ 8 w 184"/>
                  <a:gd name="T49" fmla="*/ 40 h 112"/>
                  <a:gd name="T50" fmla="*/ 8 w 184"/>
                  <a:gd name="T51" fmla="*/ 32 h 112"/>
                  <a:gd name="T52" fmla="*/ 24 w 184"/>
                  <a:gd name="T53" fmla="*/ 32 h 112"/>
                  <a:gd name="T54" fmla="*/ 32 w 184"/>
                  <a:gd name="T55" fmla="*/ 24 h 112"/>
                  <a:gd name="T56" fmla="*/ 16 w 184"/>
                  <a:gd name="T57" fmla="*/ 8 h 112"/>
                  <a:gd name="T58" fmla="*/ 8 w 184"/>
                  <a:gd name="T59" fmla="*/ 8 h 112"/>
                  <a:gd name="T60" fmla="*/ 8 w 184"/>
                  <a:gd name="T61" fmla="*/ 24 h 112"/>
                  <a:gd name="T62" fmla="*/ 0 w 184"/>
                  <a:gd name="T63" fmla="*/ 16 h 112"/>
                  <a:gd name="T64" fmla="*/ 8 w 184"/>
                  <a:gd name="T65" fmla="*/ 8 h 112"/>
                  <a:gd name="T66" fmla="*/ 16 w 184"/>
                  <a:gd name="T67" fmla="*/ 8 h 112"/>
                  <a:gd name="T68" fmla="*/ 40 w 184"/>
                  <a:gd name="T69" fmla="*/ 24 h 112"/>
                  <a:gd name="T70" fmla="*/ 48 w 184"/>
                  <a:gd name="T71" fmla="*/ 24 h 1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84"/>
                  <a:gd name="T109" fmla="*/ 0 h 112"/>
                  <a:gd name="T110" fmla="*/ 184 w 184"/>
                  <a:gd name="T111" fmla="*/ 112 h 11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84" h="112">
                    <a:moveTo>
                      <a:pt x="48" y="24"/>
                    </a:moveTo>
                    <a:lnTo>
                      <a:pt x="56" y="24"/>
                    </a:lnTo>
                    <a:lnTo>
                      <a:pt x="56" y="16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8" y="8"/>
                    </a:lnTo>
                    <a:lnTo>
                      <a:pt x="96" y="24"/>
                    </a:lnTo>
                    <a:lnTo>
                      <a:pt x="120" y="24"/>
                    </a:lnTo>
                    <a:lnTo>
                      <a:pt x="128" y="40"/>
                    </a:lnTo>
                    <a:lnTo>
                      <a:pt x="168" y="64"/>
                    </a:lnTo>
                    <a:lnTo>
                      <a:pt x="184" y="72"/>
                    </a:lnTo>
                    <a:lnTo>
                      <a:pt x="184" y="80"/>
                    </a:lnTo>
                    <a:lnTo>
                      <a:pt x="176" y="80"/>
                    </a:lnTo>
                    <a:lnTo>
                      <a:pt x="168" y="80"/>
                    </a:lnTo>
                    <a:lnTo>
                      <a:pt x="168" y="96"/>
                    </a:lnTo>
                    <a:lnTo>
                      <a:pt x="152" y="104"/>
                    </a:lnTo>
                    <a:lnTo>
                      <a:pt x="144" y="112"/>
                    </a:lnTo>
                    <a:lnTo>
                      <a:pt x="128" y="104"/>
                    </a:lnTo>
                    <a:lnTo>
                      <a:pt x="128" y="96"/>
                    </a:lnTo>
                    <a:lnTo>
                      <a:pt x="64" y="64"/>
                    </a:lnTo>
                    <a:lnTo>
                      <a:pt x="48" y="72"/>
                    </a:lnTo>
                    <a:lnTo>
                      <a:pt x="32" y="80"/>
                    </a:lnTo>
                    <a:lnTo>
                      <a:pt x="24" y="56"/>
                    </a:lnTo>
                    <a:lnTo>
                      <a:pt x="16" y="40"/>
                    </a:lnTo>
                    <a:lnTo>
                      <a:pt x="8" y="40"/>
                    </a:lnTo>
                    <a:lnTo>
                      <a:pt x="8" y="32"/>
                    </a:lnTo>
                    <a:lnTo>
                      <a:pt x="24" y="32"/>
                    </a:lnTo>
                    <a:lnTo>
                      <a:pt x="32" y="24"/>
                    </a:lnTo>
                    <a:lnTo>
                      <a:pt x="16" y="8"/>
                    </a:lnTo>
                    <a:lnTo>
                      <a:pt x="8" y="8"/>
                    </a:lnTo>
                    <a:lnTo>
                      <a:pt x="8" y="24"/>
                    </a:lnTo>
                    <a:lnTo>
                      <a:pt x="0" y="16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40" y="24"/>
                    </a:lnTo>
                    <a:lnTo>
                      <a:pt x="48" y="2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9" name="Freeform 157">
                <a:extLst>
                  <a:ext uri="{FF2B5EF4-FFF2-40B4-BE49-F238E27FC236}">
                    <a16:creationId xmlns:a16="http://schemas.microsoft.com/office/drawing/2014/main" id="{A1AD46D4-E835-04C5-A972-5A0EE1AACB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0" y="1784"/>
                <a:ext cx="104" cy="72"/>
              </a:xfrm>
              <a:custGeom>
                <a:avLst/>
                <a:gdLst>
                  <a:gd name="T0" fmla="*/ 8 w 104"/>
                  <a:gd name="T1" fmla="*/ 48 h 72"/>
                  <a:gd name="T2" fmla="*/ 0 w 104"/>
                  <a:gd name="T3" fmla="*/ 64 h 72"/>
                  <a:gd name="T4" fmla="*/ 8 w 104"/>
                  <a:gd name="T5" fmla="*/ 72 h 72"/>
                  <a:gd name="T6" fmla="*/ 32 w 104"/>
                  <a:gd name="T7" fmla="*/ 64 h 72"/>
                  <a:gd name="T8" fmla="*/ 56 w 104"/>
                  <a:gd name="T9" fmla="*/ 72 h 72"/>
                  <a:gd name="T10" fmla="*/ 72 w 104"/>
                  <a:gd name="T11" fmla="*/ 72 h 72"/>
                  <a:gd name="T12" fmla="*/ 88 w 104"/>
                  <a:gd name="T13" fmla="*/ 72 h 72"/>
                  <a:gd name="T14" fmla="*/ 88 w 104"/>
                  <a:gd name="T15" fmla="*/ 64 h 72"/>
                  <a:gd name="T16" fmla="*/ 96 w 104"/>
                  <a:gd name="T17" fmla="*/ 64 h 72"/>
                  <a:gd name="T18" fmla="*/ 88 w 104"/>
                  <a:gd name="T19" fmla="*/ 48 h 72"/>
                  <a:gd name="T20" fmla="*/ 104 w 104"/>
                  <a:gd name="T21" fmla="*/ 48 h 72"/>
                  <a:gd name="T22" fmla="*/ 104 w 104"/>
                  <a:gd name="T23" fmla="*/ 40 h 72"/>
                  <a:gd name="T24" fmla="*/ 96 w 104"/>
                  <a:gd name="T25" fmla="*/ 40 h 72"/>
                  <a:gd name="T26" fmla="*/ 88 w 104"/>
                  <a:gd name="T27" fmla="*/ 24 h 72"/>
                  <a:gd name="T28" fmla="*/ 80 w 104"/>
                  <a:gd name="T29" fmla="*/ 8 h 72"/>
                  <a:gd name="T30" fmla="*/ 56 w 104"/>
                  <a:gd name="T31" fmla="*/ 0 h 72"/>
                  <a:gd name="T32" fmla="*/ 40 w 104"/>
                  <a:gd name="T33" fmla="*/ 8 h 72"/>
                  <a:gd name="T34" fmla="*/ 40 w 104"/>
                  <a:gd name="T35" fmla="*/ 16 h 72"/>
                  <a:gd name="T36" fmla="*/ 24 w 104"/>
                  <a:gd name="T37" fmla="*/ 24 h 72"/>
                  <a:gd name="T38" fmla="*/ 32 w 104"/>
                  <a:gd name="T39" fmla="*/ 32 h 72"/>
                  <a:gd name="T40" fmla="*/ 0 w 104"/>
                  <a:gd name="T41" fmla="*/ 32 h 72"/>
                  <a:gd name="T42" fmla="*/ 8 w 104"/>
                  <a:gd name="T43" fmla="*/ 48 h 7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04"/>
                  <a:gd name="T67" fmla="*/ 0 h 72"/>
                  <a:gd name="T68" fmla="*/ 104 w 104"/>
                  <a:gd name="T69" fmla="*/ 72 h 7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04" h="72">
                    <a:moveTo>
                      <a:pt x="8" y="48"/>
                    </a:moveTo>
                    <a:lnTo>
                      <a:pt x="0" y="64"/>
                    </a:lnTo>
                    <a:lnTo>
                      <a:pt x="8" y="72"/>
                    </a:lnTo>
                    <a:lnTo>
                      <a:pt x="32" y="64"/>
                    </a:lnTo>
                    <a:lnTo>
                      <a:pt x="56" y="72"/>
                    </a:lnTo>
                    <a:lnTo>
                      <a:pt x="72" y="72"/>
                    </a:lnTo>
                    <a:lnTo>
                      <a:pt x="88" y="72"/>
                    </a:lnTo>
                    <a:lnTo>
                      <a:pt x="88" y="64"/>
                    </a:lnTo>
                    <a:lnTo>
                      <a:pt x="96" y="64"/>
                    </a:lnTo>
                    <a:lnTo>
                      <a:pt x="88" y="48"/>
                    </a:lnTo>
                    <a:lnTo>
                      <a:pt x="104" y="48"/>
                    </a:lnTo>
                    <a:lnTo>
                      <a:pt x="104" y="40"/>
                    </a:lnTo>
                    <a:lnTo>
                      <a:pt x="96" y="40"/>
                    </a:lnTo>
                    <a:lnTo>
                      <a:pt x="88" y="24"/>
                    </a:lnTo>
                    <a:lnTo>
                      <a:pt x="80" y="8"/>
                    </a:lnTo>
                    <a:lnTo>
                      <a:pt x="56" y="0"/>
                    </a:lnTo>
                    <a:lnTo>
                      <a:pt x="40" y="8"/>
                    </a:lnTo>
                    <a:lnTo>
                      <a:pt x="40" y="16"/>
                    </a:lnTo>
                    <a:lnTo>
                      <a:pt x="24" y="24"/>
                    </a:lnTo>
                    <a:lnTo>
                      <a:pt x="32" y="32"/>
                    </a:lnTo>
                    <a:lnTo>
                      <a:pt x="0" y="32"/>
                    </a:lnTo>
                    <a:lnTo>
                      <a:pt x="8" y="4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0" name="Freeform 158">
                <a:extLst>
                  <a:ext uri="{FF2B5EF4-FFF2-40B4-BE49-F238E27FC236}">
                    <a16:creationId xmlns:a16="http://schemas.microsoft.com/office/drawing/2014/main" id="{9B80A204-0BA2-D786-36B6-9019A171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0" y="1736"/>
                <a:ext cx="48" cy="32"/>
              </a:xfrm>
              <a:custGeom>
                <a:avLst/>
                <a:gdLst>
                  <a:gd name="T0" fmla="*/ 8 w 48"/>
                  <a:gd name="T1" fmla="*/ 24 h 32"/>
                  <a:gd name="T2" fmla="*/ 0 w 48"/>
                  <a:gd name="T3" fmla="*/ 24 h 32"/>
                  <a:gd name="T4" fmla="*/ 0 w 48"/>
                  <a:gd name="T5" fmla="*/ 8 h 32"/>
                  <a:gd name="T6" fmla="*/ 24 w 48"/>
                  <a:gd name="T7" fmla="*/ 0 h 32"/>
                  <a:gd name="T8" fmla="*/ 48 w 48"/>
                  <a:gd name="T9" fmla="*/ 8 h 32"/>
                  <a:gd name="T10" fmla="*/ 40 w 48"/>
                  <a:gd name="T11" fmla="*/ 8 h 32"/>
                  <a:gd name="T12" fmla="*/ 32 w 48"/>
                  <a:gd name="T13" fmla="*/ 16 h 32"/>
                  <a:gd name="T14" fmla="*/ 40 w 48"/>
                  <a:gd name="T15" fmla="*/ 24 h 32"/>
                  <a:gd name="T16" fmla="*/ 40 w 48"/>
                  <a:gd name="T17" fmla="*/ 32 h 32"/>
                  <a:gd name="T18" fmla="*/ 16 w 48"/>
                  <a:gd name="T19" fmla="*/ 24 h 32"/>
                  <a:gd name="T20" fmla="*/ 8 w 48"/>
                  <a:gd name="T21" fmla="*/ 24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8"/>
                  <a:gd name="T34" fmla="*/ 0 h 32"/>
                  <a:gd name="T35" fmla="*/ 48 w 48"/>
                  <a:gd name="T36" fmla="*/ 32 h 3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8" h="32">
                    <a:moveTo>
                      <a:pt x="8" y="24"/>
                    </a:moveTo>
                    <a:lnTo>
                      <a:pt x="0" y="24"/>
                    </a:lnTo>
                    <a:lnTo>
                      <a:pt x="0" y="8"/>
                    </a:lnTo>
                    <a:lnTo>
                      <a:pt x="24" y="0"/>
                    </a:lnTo>
                    <a:lnTo>
                      <a:pt x="48" y="8"/>
                    </a:lnTo>
                    <a:lnTo>
                      <a:pt x="40" y="8"/>
                    </a:lnTo>
                    <a:lnTo>
                      <a:pt x="32" y="16"/>
                    </a:lnTo>
                    <a:lnTo>
                      <a:pt x="40" y="24"/>
                    </a:lnTo>
                    <a:lnTo>
                      <a:pt x="40" y="32"/>
                    </a:lnTo>
                    <a:lnTo>
                      <a:pt x="16" y="24"/>
                    </a:lnTo>
                    <a:lnTo>
                      <a:pt x="8" y="2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1" name="Freeform 159">
                <a:extLst>
                  <a:ext uri="{FF2B5EF4-FFF2-40B4-BE49-F238E27FC236}">
                    <a16:creationId xmlns:a16="http://schemas.microsoft.com/office/drawing/2014/main" id="{978B3A34-17F7-A39B-1584-C917583724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6" y="1760"/>
                <a:ext cx="80" cy="32"/>
              </a:xfrm>
              <a:custGeom>
                <a:avLst/>
                <a:gdLst>
                  <a:gd name="T0" fmla="*/ 0 w 80"/>
                  <a:gd name="T1" fmla="*/ 32 h 32"/>
                  <a:gd name="T2" fmla="*/ 0 w 80"/>
                  <a:gd name="T3" fmla="*/ 16 h 32"/>
                  <a:gd name="T4" fmla="*/ 0 w 80"/>
                  <a:gd name="T5" fmla="*/ 8 h 32"/>
                  <a:gd name="T6" fmla="*/ 8 w 80"/>
                  <a:gd name="T7" fmla="*/ 8 h 32"/>
                  <a:gd name="T8" fmla="*/ 24 w 80"/>
                  <a:gd name="T9" fmla="*/ 16 h 32"/>
                  <a:gd name="T10" fmla="*/ 32 w 80"/>
                  <a:gd name="T11" fmla="*/ 16 h 32"/>
                  <a:gd name="T12" fmla="*/ 32 w 80"/>
                  <a:gd name="T13" fmla="*/ 0 h 32"/>
                  <a:gd name="T14" fmla="*/ 40 w 80"/>
                  <a:gd name="T15" fmla="*/ 0 h 32"/>
                  <a:gd name="T16" fmla="*/ 64 w 80"/>
                  <a:gd name="T17" fmla="*/ 8 h 32"/>
                  <a:gd name="T18" fmla="*/ 80 w 80"/>
                  <a:gd name="T19" fmla="*/ 24 h 32"/>
                  <a:gd name="T20" fmla="*/ 64 w 80"/>
                  <a:gd name="T21" fmla="*/ 32 h 32"/>
                  <a:gd name="T22" fmla="*/ 40 w 80"/>
                  <a:gd name="T23" fmla="*/ 24 h 32"/>
                  <a:gd name="T24" fmla="*/ 8 w 80"/>
                  <a:gd name="T25" fmla="*/ 24 h 32"/>
                  <a:gd name="T26" fmla="*/ 0 w 80"/>
                  <a:gd name="T27" fmla="*/ 32 h 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0"/>
                  <a:gd name="T43" fmla="*/ 0 h 32"/>
                  <a:gd name="T44" fmla="*/ 80 w 80"/>
                  <a:gd name="T45" fmla="*/ 32 h 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0" h="32">
                    <a:moveTo>
                      <a:pt x="0" y="32"/>
                    </a:moveTo>
                    <a:lnTo>
                      <a:pt x="0" y="16"/>
                    </a:lnTo>
                    <a:lnTo>
                      <a:pt x="0" y="8"/>
                    </a:lnTo>
                    <a:lnTo>
                      <a:pt x="8" y="8"/>
                    </a:lnTo>
                    <a:lnTo>
                      <a:pt x="24" y="16"/>
                    </a:lnTo>
                    <a:lnTo>
                      <a:pt x="32" y="16"/>
                    </a:lnTo>
                    <a:lnTo>
                      <a:pt x="32" y="0"/>
                    </a:lnTo>
                    <a:lnTo>
                      <a:pt x="40" y="0"/>
                    </a:lnTo>
                    <a:lnTo>
                      <a:pt x="64" y="8"/>
                    </a:lnTo>
                    <a:lnTo>
                      <a:pt x="80" y="24"/>
                    </a:lnTo>
                    <a:lnTo>
                      <a:pt x="64" y="32"/>
                    </a:lnTo>
                    <a:lnTo>
                      <a:pt x="40" y="24"/>
                    </a:lnTo>
                    <a:lnTo>
                      <a:pt x="8" y="24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2" name="Freeform 160">
                <a:extLst>
                  <a:ext uri="{FF2B5EF4-FFF2-40B4-BE49-F238E27FC236}">
                    <a16:creationId xmlns:a16="http://schemas.microsoft.com/office/drawing/2014/main" id="{E9EC0180-2AA1-D8C6-5498-E0DB2B3E8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8" y="1784"/>
                <a:ext cx="72" cy="32"/>
              </a:xfrm>
              <a:custGeom>
                <a:avLst/>
                <a:gdLst>
                  <a:gd name="T0" fmla="*/ 32 w 72"/>
                  <a:gd name="T1" fmla="*/ 32 h 32"/>
                  <a:gd name="T2" fmla="*/ 24 w 72"/>
                  <a:gd name="T3" fmla="*/ 32 h 32"/>
                  <a:gd name="T4" fmla="*/ 24 w 72"/>
                  <a:gd name="T5" fmla="*/ 16 h 32"/>
                  <a:gd name="T6" fmla="*/ 0 w 72"/>
                  <a:gd name="T7" fmla="*/ 16 h 32"/>
                  <a:gd name="T8" fmla="*/ 8 w 72"/>
                  <a:gd name="T9" fmla="*/ 8 h 32"/>
                  <a:gd name="T10" fmla="*/ 16 w 72"/>
                  <a:gd name="T11" fmla="*/ 0 h 32"/>
                  <a:gd name="T12" fmla="*/ 48 w 72"/>
                  <a:gd name="T13" fmla="*/ 0 h 32"/>
                  <a:gd name="T14" fmla="*/ 72 w 72"/>
                  <a:gd name="T15" fmla="*/ 8 h 32"/>
                  <a:gd name="T16" fmla="*/ 72 w 72"/>
                  <a:gd name="T17" fmla="*/ 16 h 32"/>
                  <a:gd name="T18" fmla="*/ 56 w 72"/>
                  <a:gd name="T19" fmla="*/ 24 h 32"/>
                  <a:gd name="T20" fmla="*/ 64 w 72"/>
                  <a:gd name="T21" fmla="*/ 32 h 32"/>
                  <a:gd name="T22" fmla="*/ 32 w 72"/>
                  <a:gd name="T23" fmla="*/ 32 h 3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72"/>
                  <a:gd name="T37" fmla="*/ 0 h 32"/>
                  <a:gd name="T38" fmla="*/ 72 w 72"/>
                  <a:gd name="T39" fmla="*/ 32 h 3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72" h="32">
                    <a:moveTo>
                      <a:pt x="32" y="32"/>
                    </a:moveTo>
                    <a:lnTo>
                      <a:pt x="24" y="32"/>
                    </a:lnTo>
                    <a:lnTo>
                      <a:pt x="24" y="16"/>
                    </a:lnTo>
                    <a:lnTo>
                      <a:pt x="0" y="16"/>
                    </a:lnTo>
                    <a:lnTo>
                      <a:pt x="8" y="8"/>
                    </a:lnTo>
                    <a:lnTo>
                      <a:pt x="16" y="0"/>
                    </a:lnTo>
                    <a:lnTo>
                      <a:pt x="48" y="0"/>
                    </a:lnTo>
                    <a:lnTo>
                      <a:pt x="72" y="8"/>
                    </a:lnTo>
                    <a:lnTo>
                      <a:pt x="72" y="16"/>
                    </a:lnTo>
                    <a:lnTo>
                      <a:pt x="56" y="24"/>
                    </a:lnTo>
                    <a:lnTo>
                      <a:pt x="64" y="32"/>
                    </a:lnTo>
                    <a:lnTo>
                      <a:pt x="32" y="3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3" name="Freeform 161">
                <a:extLst>
                  <a:ext uri="{FF2B5EF4-FFF2-40B4-BE49-F238E27FC236}">
                    <a16:creationId xmlns:a16="http://schemas.microsoft.com/office/drawing/2014/main" id="{44189FBD-C4BE-BF6C-2F29-56F5B1BD3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0" y="1800"/>
                <a:ext cx="32" cy="16"/>
              </a:xfrm>
              <a:custGeom>
                <a:avLst/>
                <a:gdLst>
                  <a:gd name="T0" fmla="*/ 0 w 32"/>
                  <a:gd name="T1" fmla="*/ 8 h 16"/>
                  <a:gd name="T2" fmla="*/ 32 w 32"/>
                  <a:gd name="T3" fmla="*/ 16 h 16"/>
                  <a:gd name="T4" fmla="*/ 32 w 32"/>
                  <a:gd name="T5" fmla="*/ 0 h 16"/>
                  <a:gd name="T6" fmla="*/ 8 w 32"/>
                  <a:gd name="T7" fmla="*/ 0 h 16"/>
                  <a:gd name="T8" fmla="*/ 0 w 32"/>
                  <a:gd name="T9" fmla="*/ 8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16"/>
                  <a:gd name="T17" fmla="*/ 32 w 32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16">
                    <a:moveTo>
                      <a:pt x="0" y="8"/>
                    </a:moveTo>
                    <a:lnTo>
                      <a:pt x="32" y="16"/>
                    </a:lnTo>
                    <a:lnTo>
                      <a:pt x="32" y="0"/>
                    </a:lnTo>
                    <a:lnTo>
                      <a:pt x="8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4" name="Freeform 162">
                <a:extLst>
                  <a:ext uri="{FF2B5EF4-FFF2-40B4-BE49-F238E27FC236}">
                    <a16:creationId xmlns:a16="http://schemas.microsoft.com/office/drawing/2014/main" id="{4064275A-CACF-B60D-281A-E9825D473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8" y="1896"/>
                <a:ext cx="40" cy="48"/>
              </a:xfrm>
              <a:custGeom>
                <a:avLst/>
                <a:gdLst>
                  <a:gd name="T0" fmla="*/ 24 w 40"/>
                  <a:gd name="T1" fmla="*/ 48 h 48"/>
                  <a:gd name="T2" fmla="*/ 16 w 40"/>
                  <a:gd name="T3" fmla="*/ 24 h 48"/>
                  <a:gd name="T4" fmla="*/ 0 w 40"/>
                  <a:gd name="T5" fmla="*/ 8 h 48"/>
                  <a:gd name="T6" fmla="*/ 8 w 40"/>
                  <a:gd name="T7" fmla="*/ 0 h 48"/>
                  <a:gd name="T8" fmla="*/ 24 w 40"/>
                  <a:gd name="T9" fmla="*/ 8 h 48"/>
                  <a:gd name="T10" fmla="*/ 32 w 40"/>
                  <a:gd name="T11" fmla="*/ 16 h 48"/>
                  <a:gd name="T12" fmla="*/ 40 w 40"/>
                  <a:gd name="T13" fmla="*/ 24 h 48"/>
                  <a:gd name="T14" fmla="*/ 40 w 40"/>
                  <a:gd name="T15" fmla="*/ 32 h 48"/>
                  <a:gd name="T16" fmla="*/ 32 w 40"/>
                  <a:gd name="T17" fmla="*/ 32 h 48"/>
                  <a:gd name="T18" fmla="*/ 24 w 40"/>
                  <a:gd name="T19" fmla="*/ 48 h 4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"/>
                  <a:gd name="T31" fmla="*/ 0 h 48"/>
                  <a:gd name="T32" fmla="*/ 40 w 40"/>
                  <a:gd name="T33" fmla="*/ 48 h 4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" h="48">
                    <a:moveTo>
                      <a:pt x="24" y="48"/>
                    </a:moveTo>
                    <a:lnTo>
                      <a:pt x="16" y="24"/>
                    </a:lnTo>
                    <a:lnTo>
                      <a:pt x="0" y="8"/>
                    </a:lnTo>
                    <a:lnTo>
                      <a:pt x="8" y="0"/>
                    </a:lnTo>
                    <a:lnTo>
                      <a:pt x="24" y="8"/>
                    </a:lnTo>
                    <a:lnTo>
                      <a:pt x="32" y="16"/>
                    </a:lnTo>
                    <a:lnTo>
                      <a:pt x="40" y="24"/>
                    </a:lnTo>
                    <a:lnTo>
                      <a:pt x="40" y="32"/>
                    </a:lnTo>
                    <a:lnTo>
                      <a:pt x="32" y="32"/>
                    </a:lnTo>
                    <a:lnTo>
                      <a:pt x="24" y="4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5" name="Freeform 163">
                <a:extLst>
                  <a:ext uri="{FF2B5EF4-FFF2-40B4-BE49-F238E27FC236}">
                    <a16:creationId xmlns:a16="http://schemas.microsoft.com/office/drawing/2014/main" id="{326DFFFD-0B4E-2434-9E89-B91DECA12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6" y="1976"/>
                <a:ext cx="80" cy="32"/>
              </a:xfrm>
              <a:custGeom>
                <a:avLst/>
                <a:gdLst>
                  <a:gd name="T0" fmla="*/ 64 w 80"/>
                  <a:gd name="T1" fmla="*/ 32 h 32"/>
                  <a:gd name="T2" fmla="*/ 64 w 80"/>
                  <a:gd name="T3" fmla="*/ 24 h 32"/>
                  <a:gd name="T4" fmla="*/ 80 w 80"/>
                  <a:gd name="T5" fmla="*/ 32 h 32"/>
                  <a:gd name="T6" fmla="*/ 72 w 80"/>
                  <a:gd name="T7" fmla="*/ 24 h 32"/>
                  <a:gd name="T8" fmla="*/ 80 w 80"/>
                  <a:gd name="T9" fmla="*/ 24 h 32"/>
                  <a:gd name="T10" fmla="*/ 64 w 80"/>
                  <a:gd name="T11" fmla="*/ 8 h 32"/>
                  <a:gd name="T12" fmla="*/ 48 w 80"/>
                  <a:gd name="T13" fmla="*/ 8 h 32"/>
                  <a:gd name="T14" fmla="*/ 32 w 80"/>
                  <a:gd name="T15" fmla="*/ 0 h 32"/>
                  <a:gd name="T16" fmla="*/ 0 w 80"/>
                  <a:gd name="T17" fmla="*/ 0 h 32"/>
                  <a:gd name="T18" fmla="*/ 8 w 80"/>
                  <a:gd name="T19" fmla="*/ 8 h 32"/>
                  <a:gd name="T20" fmla="*/ 24 w 80"/>
                  <a:gd name="T21" fmla="*/ 16 h 32"/>
                  <a:gd name="T22" fmla="*/ 24 w 80"/>
                  <a:gd name="T23" fmla="*/ 24 h 32"/>
                  <a:gd name="T24" fmla="*/ 40 w 80"/>
                  <a:gd name="T25" fmla="*/ 24 h 32"/>
                  <a:gd name="T26" fmla="*/ 40 w 80"/>
                  <a:gd name="T27" fmla="*/ 32 h 32"/>
                  <a:gd name="T28" fmla="*/ 64 w 80"/>
                  <a:gd name="T29" fmla="*/ 32 h 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0"/>
                  <a:gd name="T46" fmla="*/ 0 h 32"/>
                  <a:gd name="T47" fmla="*/ 80 w 80"/>
                  <a:gd name="T48" fmla="*/ 32 h 3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0" h="32">
                    <a:moveTo>
                      <a:pt x="64" y="32"/>
                    </a:moveTo>
                    <a:lnTo>
                      <a:pt x="64" y="24"/>
                    </a:lnTo>
                    <a:lnTo>
                      <a:pt x="80" y="32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64" y="8"/>
                    </a:lnTo>
                    <a:lnTo>
                      <a:pt x="48" y="8"/>
                    </a:lnTo>
                    <a:lnTo>
                      <a:pt x="32" y="0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24" y="16"/>
                    </a:lnTo>
                    <a:lnTo>
                      <a:pt x="24" y="24"/>
                    </a:lnTo>
                    <a:lnTo>
                      <a:pt x="40" y="24"/>
                    </a:lnTo>
                    <a:lnTo>
                      <a:pt x="40" y="32"/>
                    </a:lnTo>
                    <a:lnTo>
                      <a:pt x="64" y="3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6" name="Freeform 164">
                <a:extLst>
                  <a:ext uri="{FF2B5EF4-FFF2-40B4-BE49-F238E27FC236}">
                    <a16:creationId xmlns:a16="http://schemas.microsoft.com/office/drawing/2014/main" id="{0B2F37A3-84C1-5BD0-370D-4213B4A74F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6" y="2008"/>
                <a:ext cx="48" cy="32"/>
              </a:xfrm>
              <a:custGeom>
                <a:avLst/>
                <a:gdLst>
                  <a:gd name="T0" fmla="*/ 24 w 48"/>
                  <a:gd name="T1" fmla="*/ 16 h 32"/>
                  <a:gd name="T2" fmla="*/ 8 w 48"/>
                  <a:gd name="T3" fmla="*/ 16 h 32"/>
                  <a:gd name="T4" fmla="*/ 0 w 48"/>
                  <a:gd name="T5" fmla="*/ 0 h 32"/>
                  <a:gd name="T6" fmla="*/ 24 w 48"/>
                  <a:gd name="T7" fmla="*/ 0 h 32"/>
                  <a:gd name="T8" fmla="*/ 32 w 48"/>
                  <a:gd name="T9" fmla="*/ 8 h 32"/>
                  <a:gd name="T10" fmla="*/ 32 w 48"/>
                  <a:gd name="T11" fmla="*/ 16 h 32"/>
                  <a:gd name="T12" fmla="*/ 40 w 48"/>
                  <a:gd name="T13" fmla="*/ 16 h 32"/>
                  <a:gd name="T14" fmla="*/ 48 w 48"/>
                  <a:gd name="T15" fmla="*/ 32 h 32"/>
                  <a:gd name="T16" fmla="*/ 40 w 48"/>
                  <a:gd name="T17" fmla="*/ 32 h 32"/>
                  <a:gd name="T18" fmla="*/ 32 w 48"/>
                  <a:gd name="T19" fmla="*/ 24 h 32"/>
                  <a:gd name="T20" fmla="*/ 24 w 48"/>
                  <a:gd name="T21" fmla="*/ 16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8"/>
                  <a:gd name="T34" fmla="*/ 0 h 32"/>
                  <a:gd name="T35" fmla="*/ 48 w 48"/>
                  <a:gd name="T36" fmla="*/ 32 h 3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8" h="32">
                    <a:moveTo>
                      <a:pt x="24" y="16"/>
                    </a:moveTo>
                    <a:lnTo>
                      <a:pt x="8" y="16"/>
                    </a:lnTo>
                    <a:lnTo>
                      <a:pt x="0" y="0"/>
                    </a:lnTo>
                    <a:lnTo>
                      <a:pt x="24" y="0"/>
                    </a:lnTo>
                    <a:lnTo>
                      <a:pt x="32" y="8"/>
                    </a:lnTo>
                    <a:lnTo>
                      <a:pt x="32" y="16"/>
                    </a:lnTo>
                    <a:lnTo>
                      <a:pt x="40" y="16"/>
                    </a:lnTo>
                    <a:lnTo>
                      <a:pt x="48" y="32"/>
                    </a:lnTo>
                    <a:lnTo>
                      <a:pt x="40" y="32"/>
                    </a:lnTo>
                    <a:lnTo>
                      <a:pt x="32" y="24"/>
                    </a:lnTo>
                    <a:lnTo>
                      <a:pt x="24" y="1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7" name="Freeform 165">
                <a:extLst>
                  <a:ext uri="{FF2B5EF4-FFF2-40B4-BE49-F238E27FC236}">
                    <a16:creationId xmlns:a16="http://schemas.microsoft.com/office/drawing/2014/main" id="{D8833AE8-3233-F190-EF7A-D8B1F8555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" y="2024"/>
                <a:ext cx="16" cy="16"/>
              </a:xfrm>
              <a:custGeom>
                <a:avLst/>
                <a:gdLst>
                  <a:gd name="T0" fmla="*/ 16 w 16"/>
                  <a:gd name="T1" fmla="*/ 16 h 16"/>
                  <a:gd name="T2" fmla="*/ 8 w 16"/>
                  <a:gd name="T3" fmla="*/ 16 h 16"/>
                  <a:gd name="T4" fmla="*/ 0 w 16"/>
                  <a:gd name="T5" fmla="*/ 0 h 16"/>
                  <a:gd name="T6" fmla="*/ 8 w 16"/>
                  <a:gd name="T7" fmla="*/ 8 h 16"/>
                  <a:gd name="T8" fmla="*/ 16 w 16"/>
                  <a:gd name="T9" fmla="*/ 16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6"/>
                  <a:gd name="T17" fmla="*/ 16 w 16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6">
                    <a:moveTo>
                      <a:pt x="16" y="16"/>
                    </a:moveTo>
                    <a:lnTo>
                      <a:pt x="8" y="16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16" y="1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8" name="Freeform 166">
                <a:extLst>
                  <a:ext uri="{FF2B5EF4-FFF2-40B4-BE49-F238E27FC236}">
                    <a16:creationId xmlns:a16="http://schemas.microsoft.com/office/drawing/2014/main" id="{C9479022-A5A7-AF78-20D2-68F9ED97E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" y="2000"/>
                <a:ext cx="64" cy="48"/>
              </a:xfrm>
              <a:custGeom>
                <a:avLst/>
                <a:gdLst>
                  <a:gd name="T0" fmla="*/ 40 w 64"/>
                  <a:gd name="T1" fmla="*/ 0 h 48"/>
                  <a:gd name="T2" fmla="*/ 48 w 64"/>
                  <a:gd name="T3" fmla="*/ 8 h 48"/>
                  <a:gd name="T4" fmla="*/ 64 w 64"/>
                  <a:gd name="T5" fmla="*/ 16 h 48"/>
                  <a:gd name="T6" fmla="*/ 56 w 64"/>
                  <a:gd name="T7" fmla="*/ 24 h 48"/>
                  <a:gd name="T8" fmla="*/ 56 w 64"/>
                  <a:gd name="T9" fmla="*/ 40 h 48"/>
                  <a:gd name="T10" fmla="*/ 48 w 64"/>
                  <a:gd name="T11" fmla="*/ 40 h 48"/>
                  <a:gd name="T12" fmla="*/ 56 w 64"/>
                  <a:gd name="T13" fmla="*/ 48 h 48"/>
                  <a:gd name="T14" fmla="*/ 40 w 64"/>
                  <a:gd name="T15" fmla="*/ 40 h 48"/>
                  <a:gd name="T16" fmla="*/ 40 w 64"/>
                  <a:gd name="T17" fmla="*/ 32 h 48"/>
                  <a:gd name="T18" fmla="*/ 24 w 64"/>
                  <a:gd name="T19" fmla="*/ 40 h 48"/>
                  <a:gd name="T20" fmla="*/ 16 w 64"/>
                  <a:gd name="T21" fmla="*/ 24 h 48"/>
                  <a:gd name="T22" fmla="*/ 8 w 64"/>
                  <a:gd name="T23" fmla="*/ 24 h 48"/>
                  <a:gd name="T24" fmla="*/ 8 w 64"/>
                  <a:gd name="T25" fmla="*/ 16 h 48"/>
                  <a:gd name="T26" fmla="*/ 0 w 64"/>
                  <a:gd name="T27" fmla="*/ 8 h 48"/>
                  <a:gd name="T28" fmla="*/ 0 w 64"/>
                  <a:gd name="T29" fmla="*/ 0 h 48"/>
                  <a:gd name="T30" fmla="*/ 16 w 64"/>
                  <a:gd name="T31" fmla="*/ 8 h 48"/>
                  <a:gd name="T32" fmla="*/ 8 w 64"/>
                  <a:gd name="T33" fmla="*/ 0 h 48"/>
                  <a:gd name="T34" fmla="*/ 16 w 64"/>
                  <a:gd name="T35" fmla="*/ 0 h 48"/>
                  <a:gd name="T36" fmla="*/ 24 w 64"/>
                  <a:gd name="T37" fmla="*/ 8 h 48"/>
                  <a:gd name="T38" fmla="*/ 32 w 64"/>
                  <a:gd name="T39" fmla="*/ 8 h 48"/>
                  <a:gd name="T40" fmla="*/ 40 w 64"/>
                  <a:gd name="T41" fmla="*/ 0 h 4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4"/>
                  <a:gd name="T64" fmla="*/ 0 h 48"/>
                  <a:gd name="T65" fmla="*/ 64 w 64"/>
                  <a:gd name="T66" fmla="*/ 48 h 4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4" h="48">
                    <a:moveTo>
                      <a:pt x="40" y="0"/>
                    </a:moveTo>
                    <a:lnTo>
                      <a:pt x="48" y="8"/>
                    </a:lnTo>
                    <a:lnTo>
                      <a:pt x="64" y="16"/>
                    </a:lnTo>
                    <a:lnTo>
                      <a:pt x="56" y="24"/>
                    </a:lnTo>
                    <a:lnTo>
                      <a:pt x="56" y="40"/>
                    </a:lnTo>
                    <a:lnTo>
                      <a:pt x="48" y="40"/>
                    </a:lnTo>
                    <a:lnTo>
                      <a:pt x="56" y="48"/>
                    </a:lnTo>
                    <a:lnTo>
                      <a:pt x="40" y="40"/>
                    </a:lnTo>
                    <a:lnTo>
                      <a:pt x="40" y="32"/>
                    </a:lnTo>
                    <a:lnTo>
                      <a:pt x="24" y="40"/>
                    </a:lnTo>
                    <a:lnTo>
                      <a:pt x="16" y="24"/>
                    </a:lnTo>
                    <a:lnTo>
                      <a:pt x="8" y="24"/>
                    </a:lnTo>
                    <a:lnTo>
                      <a:pt x="8" y="1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16" y="8"/>
                    </a:lnTo>
                    <a:lnTo>
                      <a:pt x="8" y="0"/>
                    </a:lnTo>
                    <a:lnTo>
                      <a:pt x="16" y="0"/>
                    </a:lnTo>
                    <a:lnTo>
                      <a:pt x="24" y="8"/>
                    </a:lnTo>
                    <a:lnTo>
                      <a:pt x="32" y="8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00" name="Freeform 167">
              <a:extLst>
                <a:ext uri="{FF2B5EF4-FFF2-40B4-BE49-F238E27FC236}">
                  <a16:creationId xmlns:a16="http://schemas.microsoft.com/office/drawing/2014/main" id="{46B580F5-CAEC-F701-1096-99879D602281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774951" y="4959351"/>
              <a:ext cx="361950" cy="368300"/>
            </a:xfrm>
            <a:custGeom>
              <a:avLst/>
              <a:gdLst>
                <a:gd name="T0" fmla="*/ 0 w 168"/>
                <a:gd name="T1" fmla="*/ 29464 h 200"/>
                <a:gd name="T2" fmla="*/ 34471 w 168"/>
                <a:gd name="T3" fmla="*/ 44196 h 200"/>
                <a:gd name="T4" fmla="*/ 68943 w 168"/>
                <a:gd name="T5" fmla="*/ 0 h 200"/>
                <a:gd name="T6" fmla="*/ 120650 w 168"/>
                <a:gd name="T7" fmla="*/ 0 h 200"/>
                <a:gd name="T8" fmla="*/ 120650 w 168"/>
                <a:gd name="T9" fmla="*/ 44196 h 200"/>
                <a:gd name="T10" fmla="*/ 137886 w 168"/>
                <a:gd name="T11" fmla="*/ 73660 h 200"/>
                <a:gd name="T12" fmla="*/ 258536 w 168"/>
                <a:gd name="T13" fmla="*/ 117856 h 200"/>
                <a:gd name="T14" fmla="*/ 275771 w 168"/>
                <a:gd name="T15" fmla="*/ 147320 h 200"/>
                <a:gd name="T16" fmla="*/ 275771 w 168"/>
                <a:gd name="T17" fmla="*/ 162052 h 200"/>
                <a:gd name="T18" fmla="*/ 275771 w 168"/>
                <a:gd name="T19" fmla="*/ 176784 h 200"/>
                <a:gd name="T20" fmla="*/ 327479 w 168"/>
                <a:gd name="T21" fmla="*/ 191516 h 200"/>
                <a:gd name="T22" fmla="*/ 327479 w 168"/>
                <a:gd name="T23" fmla="*/ 206248 h 200"/>
                <a:gd name="T24" fmla="*/ 361950 w 168"/>
                <a:gd name="T25" fmla="*/ 235712 h 200"/>
                <a:gd name="T26" fmla="*/ 344714 w 168"/>
                <a:gd name="T27" fmla="*/ 294640 h 200"/>
                <a:gd name="T28" fmla="*/ 327479 w 168"/>
                <a:gd name="T29" fmla="*/ 265176 h 200"/>
                <a:gd name="T30" fmla="*/ 241300 w 168"/>
                <a:gd name="T31" fmla="*/ 279908 h 200"/>
                <a:gd name="T32" fmla="*/ 224064 w 168"/>
                <a:gd name="T33" fmla="*/ 353568 h 200"/>
                <a:gd name="T34" fmla="*/ 189593 w 168"/>
                <a:gd name="T35" fmla="*/ 353568 h 200"/>
                <a:gd name="T36" fmla="*/ 137886 w 168"/>
                <a:gd name="T37" fmla="*/ 338836 h 200"/>
                <a:gd name="T38" fmla="*/ 103414 w 168"/>
                <a:gd name="T39" fmla="*/ 368300 h 200"/>
                <a:gd name="T40" fmla="*/ 86179 w 168"/>
                <a:gd name="T41" fmla="*/ 368300 h 200"/>
                <a:gd name="T42" fmla="*/ 51707 w 168"/>
                <a:gd name="T43" fmla="*/ 294640 h 200"/>
                <a:gd name="T44" fmla="*/ 51707 w 168"/>
                <a:gd name="T45" fmla="*/ 265176 h 200"/>
                <a:gd name="T46" fmla="*/ 17236 w 168"/>
                <a:gd name="T47" fmla="*/ 220980 h 200"/>
                <a:gd name="T48" fmla="*/ 34471 w 168"/>
                <a:gd name="T49" fmla="*/ 191516 h 200"/>
                <a:gd name="T50" fmla="*/ 17236 w 168"/>
                <a:gd name="T51" fmla="*/ 176784 h 200"/>
                <a:gd name="T52" fmla="*/ 17236 w 168"/>
                <a:gd name="T53" fmla="*/ 73660 h 200"/>
                <a:gd name="T54" fmla="*/ 0 w 168"/>
                <a:gd name="T55" fmla="*/ 29464 h 2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68"/>
                <a:gd name="T85" fmla="*/ 0 h 200"/>
                <a:gd name="T86" fmla="*/ 168 w 168"/>
                <a:gd name="T87" fmla="*/ 200 h 2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68" h="200">
                  <a:moveTo>
                    <a:pt x="0" y="16"/>
                  </a:moveTo>
                  <a:lnTo>
                    <a:pt x="16" y="24"/>
                  </a:lnTo>
                  <a:lnTo>
                    <a:pt x="32" y="0"/>
                  </a:lnTo>
                  <a:lnTo>
                    <a:pt x="56" y="0"/>
                  </a:lnTo>
                  <a:lnTo>
                    <a:pt x="56" y="24"/>
                  </a:lnTo>
                  <a:lnTo>
                    <a:pt x="64" y="40"/>
                  </a:lnTo>
                  <a:lnTo>
                    <a:pt x="120" y="64"/>
                  </a:lnTo>
                  <a:lnTo>
                    <a:pt x="128" y="80"/>
                  </a:lnTo>
                  <a:lnTo>
                    <a:pt x="128" y="88"/>
                  </a:lnTo>
                  <a:lnTo>
                    <a:pt x="128" y="96"/>
                  </a:lnTo>
                  <a:lnTo>
                    <a:pt x="152" y="104"/>
                  </a:lnTo>
                  <a:lnTo>
                    <a:pt x="152" y="112"/>
                  </a:lnTo>
                  <a:lnTo>
                    <a:pt x="168" y="128"/>
                  </a:lnTo>
                  <a:lnTo>
                    <a:pt x="160" y="160"/>
                  </a:lnTo>
                  <a:lnTo>
                    <a:pt x="152" y="144"/>
                  </a:lnTo>
                  <a:lnTo>
                    <a:pt x="112" y="152"/>
                  </a:lnTo>
                  <a:lnTo>
                    <a:pt x="104" y="192"/>
                  </a:lnTo>
                  <a:lnTo>
                    <a:pt x="88" y="192"/>
                  </a:lnTo>
                  <a:lnTo>
                    <a:pt x="64" y="184"/>
                  </a:lnTo>
                  <a:lnTo>
                    <a:pt x="48" y="200"/>
                  </a:lnTo>
                  <a:lnTo>
                    <a:pt x="40" y="200"/>
                  </a:lnTo>
                  <a:lnTo>
                    <a:pt x="24" y="160"/>
                  </a:lnTo>
                  <a:lnTo>
                    <a:pt x="24" y="144"/>
                  </a:lnTo>
                  <a:lnTo>
                    <a:pt x="8" y="120"/>
                  </a:lnTo>
                  <a:lnTo>
                    <a:pt x="16" y="104"/>
                  </a:lnTo>
                  <a:lnTo>
                    <a:pt x="8" y="96"/>
                  </a:lnTo>
                  <a:lnTo>
                    <a:pt x="8" y="4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1" name="Freeform 168">
              <a:extLst>
                <a:ext uri="{FF2B5EF4-FFF2-40B4-BE49-F238E27FC236}">
                  <a16:creationId xmlns:a16="http://schemas.microsoft.com/office/drawing/2014/main" id="{643340EC-11B7-1444-B361-1A26754DFECD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998788" y="5224463"/>
              <a:ext cx="242888" cy="236538"/>
            </a:xfrm>
            <a:custGeom>
              <a:avLst/>
              <a:gdLst>
                <a:gd name="T0" fmla="*/ 242888 w 112"/>
                <a:gd name="T1" fmla="*/ 177403 h 128"/>
                <a:gd name="T2" fmla="*/ 242888 w 112"/>
                <a:gd name="T3" fmla="*/ 133053 h 128"/>
                <a:gd name="T4" fmla="*/ 208190 w 112"/>
                <a:gd name="T5" fmla="*/ 133053 h 128"/>
                <a:gd name="T6" fmla="*/ 208190 w 112"/>
                <a:gd name="T7" fmla="*/ 88702 h 128"/>
                <a:gd name="T8" fmla="*/ 190841 w 112"/>
                <a:gd name="T9" fmla="*/ 88702 h 128"/>
                <a:gd name="T10" fmla="*/ 138793 w 112"/>
                <a:gd name="T11" fmla="*/ 73918 h 128"/>
                <a:gd name="T12" fmla="*/ 121444 w 112"/>
                <a:gd name="T13" fmla="*/ 29567 h 128"/>
                <a:gd name="T14" fmla="*/ 104095 w 112"/>
                <a:gd name="T15" fmla="*/ 0 h 128"/>
                <a:gd name="T16" fmla="*/ 17349 w 112"/>
                <a:gd name="T17" fmla="*/ 14784 h 128"/>
                <a:gd name="T18" fmla="*/ 0 w 112"/>
                <a:gd name="T19" fmla="*/ 88702 h 128"/>
                <a:gd name="T20" fmla="*/ 69397 w 112"/>
                <a:gd name="T21" fmla="*/ 133053 h 128"/>
                <a:gd name="T22" fmla="*/ 104095 w 112"/>
                <a:gd name="T23" fmla="*/ 147836 h 128"/>
                <a:gd name="T24" fmla="*/ 156142 w 112"/>
                <a:gd name="T25" fmla="*/ 162620 h 128"/>
                <a:gd name="T26" fmla="*/ 156142 w 112"/>
                <a:gd name="T27" fmla="*/ 192187 h 128"/>
                <a:gd name="T28" fmla="*/ 138793 w 112"/>
                <a:gd name="T29" fmla="*/ 221754 h 128"/>
                <a:gd name="T30" fmla="*/ 208190 w 112"/>
                <a:gd name="T31" fmla="*/ 236538 h 128"/>
                <a:gd name="T32" fmla="*/ 225539 w 112"/>
                <a:gd name="T33" fmla="*/ 236538 h 128"/>
                <a:gd name="T34" fmla="*/ 242888 w 112"/>
                <a:gd name="T35" fmla="*/ 206971 h 128"/>
                <a:gd name="T36" fmla="*/ 242888 w 112"/>
                <a:gd name="T37" fmla="*/ 177403 h 1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2"/>
                <a:gd name="T58" fmla="*/ 0 h 128"/>
                <a:gd name="T59" fmla="*/ 112 w 112"/>
                <a:gd name="T60" fmla="*/ 128 h 12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2" h="128">
                  <a:moveTo>
                    <a:pt x="112" y="96"/>
                  </a:moveTo>
                  <a:lnTo>
                    <a:pt x="112" y="72"/>
                  </a:lnTo>
                  <a:lnTo>
                    <a:pt x="96" y="72"/>
                  </a:lnTo>
                  <a:lnTo>
                    <a:pt x="96" y="48"/>
                  </a:lnTo>
                  <a:lnTo>
                    <a:pt x="88" y="48"/>
                  </a:lnTo>
                  <a:lnTo>
                    <a:pt x="64" y="40"/>
                  </a:lnTo>
                  <a:lnTo>
                    <a:pt x="56" y="16"/>
                  </a:lnTo>
                  <a:lnTo>
                    <a:pt x="48" y="0"/>
                  </a:lnTo>
                  <a:lnTo>
                    <a:pt x="8" y="8"/>
                  </a:lnTo>
                  <a:lnTo>
                    <a:pt x="0" y="48"/>
                  </a:lnTo>
                  <a:lnTo>
                    <a:pt x="32" y="72"/>
                  </a:lnTo>
                  <a:lnTo>
                    <a:pt x="48" y="80"/>
                  </a:lnTo>
                  <a:lnTo>
                    <a:pt x="72" y="88"/>
                  </a:lnTo>
                  <a:lnTo>
                    <a:pt x="72" y="104"/>
                  </a:lnTo>
                  <a:lnTo>
                    <a:pt x="64" y="120"/>
                  </a:lnTo>
                  <a:lnTo>
                    <a:pt x="96" y="128"/>
                  </a:lnTo>
                  <a:lnTo>
                    <a:pt x="104" y="128"/>
                  </a:lnTo>
                  <a:lnTo>
                    <a:pt x="112" y="112"/>
                  </a:lnTo>
                  <a:lnTo>
                    <a:pt x="112" y="9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2" name="Freeform 169">
              <a:extLst>
                <a:ext uri="{FF2B5EF4-FFF2-40B4-BE49-F238E27FC236}">
                  <a16:creationId xmlns:a16="http://schemas.microsoft.com/office/drawing/2014/main" id="{71BF8C68-9D74-8E6D-4FE0-1C05E53C8368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843213" y="5299076"/>
              <a:ext cx="433388" cy="839788"/>
            </a:xfrm>
            <a:custGeom>
              <a:avLst/>
              <a:gdLst>
                <a:gd name="T0" fmla="*/ 346710 w 200"/>
                <a:gd name="T1" fmla="*/ 338862 h 456"/>
                <a:gd name="T2" fmla="*/ 398717 w 200"/>
                <a:gd name="T3" fmla="*/ 383061 h 456"/>
                <a:gd name="T4" fmla="*/ 416052 w 200"/>
                <a:gd name="T5" fmla="*/ 412527 h 456"/>
                <a:gd name="T6" fmla="*/ 398717 w 200"/>
                <a:gd name="T7" fmla="*/ 456727 h 456"/>
                <a:gd name="T8" fmla="*/ 294704 w 200"/>
                <a:gd name="T9" fmla="*/ 486193 h 456"/>
                <a:gd name="T10" fmla="*/ 294704 w 200"/>
                <a:gd name="T11" fmla="*/ 500926 h 456"/>
                <a:gd name="T12" fmla="*/ 260033 w 200"/>
                <a:gd name="T13" fmla="*/ 545126 h 456"/>
                <a:gd name="T14" fmla="*/ 242697 w 200"/>
                <a:gd name="T15" fmla="*/ 559859 h 456"/>
                <a:gd name="T16" fmla="*/ 277368 w 200"/>
                <a:gd name="T17" fmla="*/ 559859 h 456"/>
                <a:gd name="T18" fmla="*/ 294704 w 200"/>
                <a:gd name="T19" fmla="*/ 589325 h 456"/>
                <a:gd name="T20" fmla="*/ 260033 w 200"/>
                <a:gd name="T21" fmla="*/ 574592 h 456"/>
                <a:gd name="T22" fmla="*/ 277368 w 200"/>
                <a:gd name="T23" fmla="*/ 589325 h 456"/>
                <a:gd name="T24" fmla="*/ 260033 w 200"/>
                <a:gd name="T25" fmla="*/ 633524 h 456"/>
                <a:gd name="T26" fmla="*/ 225362 w 200"/>
                <a:gd name="T27" fmla="*/ 648257 h 456"/>
                <a:gd name="T28" fmla="*/ 225362 w 200"/>
                <a:gd name="T29" fmla="*/ 692457 h 456"/>
                <a:gd name="T30" fmla="*/ 277368 w 200"/>
                <a:gd name="T31" fmla="*/ 707190 h 456"/>
                <a:gd name="T32" fmla="*/ 260033 w 200"/>
                <a:gd name="T33" fmla="*/ 751389 h 456"/>
                <a:gd name="T34" fmla="*/ 242697 w 200"/>
                <a:gd name="T35" fmla="*/ 795589 h 456"/>
                <a:gd name="T36" fmla="*/ 294704 w 200"/>
                <a:gd name="T37" fmla="*/ 839788 h 456"/>
                <a:gd name="T38" fmla="*/ 190691 w 200"/>
                <a:gd name="T39" fmla="*/ 839788 h 456"/>
                <a:gd name="T40" fmla="*/ 138684 w 200"/>
                <a:gd name="T41" fmla="*/ 795589 h 456"/>
                <a:gd name="T42" fmla="*/ 121349 w 200"/>
                <a:gd name="T43" fmla="*/ 692457 h 456"/>
                <a:gd name="T44" fmla="*/ 104013 w 200"/>
                <a:gd name="T45" fmla="*/ 648257 h 456"/>
                <a:gd name="T46" fmla="*/ 69342 w 200"/>
                <a:gd name="T47" fmla="*/ 589325 h 456"/>
                <a:gd name="T48" fmla="*/ 52007 w 200"/>
                <a:gd name="T49" fmla="*/ 545126 h 456"/>
                <a:gd name="T50" fmla="*/ 17336 w 200"/>
                <a:gd name="T51" fmla="*/ 427261 h 456"/>
                <a:gd name="T52" fmla="*/ 17336 w 200"/>
                <a:gd name="T53" fmla="*/ 383061 h 456"/>
                <a:gd name="T54" fmla="*/ 0 w 200"/>
                <a:gd name="T55" fmla="*/ 265196 h 456"/>
                <a:gd name="T56" fmla="*/ 17336 w 200"/>
                <a:gd name="T57" fmla="*/ 132598 h 456"/>
                <a:gd name="T58" fmla="*/ 34671 w 200"/>
                <a:gd name="T59" fmla="*/ 58933 h 456"/>
                <a:gd name="T60" fmla="*/ 69342 w 200"/>
                <a:gd name="T61" fmla="*/ 0 h 456"/>
                <a:gd name="T62" fmla="*/ 156020 w 200"/>
                <a:gd name="T63" fmla="*/ 14733 h 456"/>
                <a:gd name="T64" fmla="*/ 260033 w 200"/>
                <a:gd name="T65" fmla="*/ 73666 h 456"/>
                <a:gd name="T66" fmla="*/ 312039 w 200"/>
                <a:gd name="T67" fmla="*/ 117865 h 456"/>
                <a:gd name="T68" fmla="*/ 364046 w 200"/>
                <a:gd name="T69" fmla="*/ 162064 h 456"/>
                <a:gd name="T70" fmla="*/ 398717 w 200"/>
                <a:gd name="T71" fmla="*/ 132598 h 456"/>
                <a:gd name="T72" fmla="*/ 416052 w 200"/>
                <a:gd name="T73" fmla="*/ 103132 h 456"/>
                <a:gd name="T74" fmla="*/ 416052 w 200"/>
                <a:gd name="T75" fmla="*/ 162064 h 4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"/>
                <a:gd name="T115" fmla="*/ 0 h 456"/>
                <a:gd name="T116" fmla="*/ 200 w 200"/>
                <a:gd name="T117" fmla="*/ 456 h 4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" h="456">
                  <a:moveTo>
                    <a:pt x="160" y="128"/>
                  </a:moveTo>
                  <a:lnTo>
                    <a:pt x="160" y="184"/>
                  </a:lnTo>
                  <a:lnTo>
                    <a:pt x="160" y="192"/>
                  </a:lnTo>
                  <a:lnTo>
                    <a:pt x="184" y="208"/>
                  </a:lnTo>
                  <a:lnTo>
                    <a:pt x="176" y="216"/>
                  </a:lnTo>
                  <a:lnTo>
                    <a:pt x="192" y="224"/>
                  </a:lnTo>
                  <a:lnTo>
                    <a:pt x="192" y="232"/>
                  </a:lnTo>
                  <a:lnTo>
                    <a:pt x="184" y="248"/>
                  </a:lnTo>
                  <a:lnTo>
                    <a:pt x="152" y="256"/>
                  </a:lnTo>
                  <a:lnTo>
                    <a:pt x="136" y="264"/>
                  </a:lnTo>
                  <a:lnTo>
                    <a:pt x="128" y="256"/>
                  </a:lnTo>
                  <a:lnTo>
                    <a:pt x="136" y="272"/>
                  </a:lnTo>
                  <a:lnTo>
                    <a:pt x="136" y="288"/>
                  </a:lnTo>
                  <a:lnTo>
                    <a:pt x="120" y="296"/>
                  </a:lnTo>
                  <a:lnTo>
                    <a:pt x="104" y="288"/>
                  </a:lnTo>
                  <a:lnTo>
                    <a:pt x="112" y="304"/>
                  </a:lnTo>
                  <a:lnTo>
                    <a:pt x="120" y="312"/>
                  </a:lnTo>
                  <a:lnTo>
                    <a:pt x="128" y="304"/>
                  </a:lnTo>
                  <a:lnTo>
                    <a:pt x="136" y="312"/>
                  </a:lnTo>
                  <a:lnTo>
                    <a:pt x="136" y="320"/>
                  </a:lnTo>
                  <a:lnTo>
                    <a:pt x="128" y="320"/>
                  </a:lnTo>
                  <a:lnTo>
                    <a:pt x="120" y="312"/>
                  </a:lnTo>
                  <a:lnTo>
                    <a:pt x="120" y="320"/>
                  </a:lnTo>
                  <a:lnTo>
                    <a:pt x="128" y="320"/>
                  </a:lnTo>
                  <a:lnTo>
                    <a:pt x="120" y="328"/>
                  </a:lnTo>
                  <a:lnTo>
                    <a:pt x="120" y="344"/>
                  </a:lnTo>
                  <a:lnTo>
                    <a:pt x="120" y="352"/>
                  </a:lnTo>
                  <a:lnTo>
                    <a:pt x="104" y="352"/>
                  </a:lnTo>
                  <a:lnTo>
                    <a:pt x="104" y="368"/>
                  </a:lnTo>
                  <a:lnTo>
                    <a:pt x="104" y="376"/>
                  </a:lnTo>
                  <a:lnTo>
                    <a:pt x="120" y="384"/>
                  </a:lnTo>
                  <a:lnTo>
                    <a:pt x="128" y="384"/>
                  </a:lnTo>
                  <a:lnTo>
                    <a:pt x="136" y="392"/>
                  </a:lnTo>
                  <a:lnTo>
                    <a:pt x="120" y="408"/>
                  </a:lnTo>
                  <a:lnTo>
                    <a:pt x="120" y="424"/>
                  </a:lnTo>
                  <a:lnTo>
                    <a:pt x="112" y="432"/>
                  </a:lnTo>
                  <a:lnTo>
                    <a:pt x="112" y="440"/>
                  </a:lnTo>
                  <a:lnTo>
                    <a:pt x="136" y="456"/>
                  </a:lnTo>
                  <a:lnTo>
                    <a:pt x="120" y="456"/>
                  </a:lnTo>
                  <a:lnTo>
                    <a:pt x="88" y="456"/>
                  </a:lnTo>
                  <a:lnTo>
                    <a:pt x="72" y="432"/>
                  </a:lnTo>
                  <a:lnTo>
                    <a:pt x="64" y="432"/>
                  </a:lnTo>
                  <a:lnTo>
                    <a:pt x="56" y="424"/>
                  </a:lnTo>
                  <a:lnTo>
                    <a:pt x="56" y="376"/>
                  </a:lnTo>
                  <a:lnTo>
                    <a:pt x="48" y="344"/>
                  </a:lnTo>
                  <a:lnTo>
                    <a:pt x="48" y="352"/>
                  </a:lnTo>
                  <a:lnTo>
                    <a:pt x="40" y="344"/>
                  </a:lnTo>
                  <a:lnTo>
                    <a:pt x="32" y="320"/>
                  </a:lnTo>
                  <a:lnTo>
                    <a:pt x="32" y="304"/>
                  </a:lnTo>
                  <a:lnTo>
                    <a:pt x="24" y="296"/>
                  </a:lnTo>
                  <a:lnTo>
                    <a:pt x="24" y="256"/>
                  </a:lnTo>
                  <a:lnTo>
                    <a:pt x="8" y="232"/>
                  </a:lnTo>
                  <a:lnTo>
                    <a:pt x="16" y="216"/>
                  </a:lnTo>
                  <a:lnTo>
                    <a:pt x="8" y="208"/>
                  </a:lnTo>
                  <a:lnTo>
                    <a:pt x="16" y="184"/>
                  </a:lnTo>
                  <a:lnTo>
                    <a:pt x="0" y="144"/>
                  </a:lnTo>
                  <a:lnTo>
                    <a:pt x="0" y="96"/>
                  </a:lnTo>
                  <a:lnTo>
                    <a:pt x="8" y="72"/>
                  </a:lnTo>
                  <a:lnTo>
                    <a:pt x="0" y="40"/>
                  </a:lnTo>
                  <a:lnTo>
                    <a:pt x="16" y="32"/>
                  </a:lnTo>
                  <a:lnTo>
                    <a:pt x="16" y="16"/>
                  </a:lnTo>
                  <a:lnTo>
                    <a:pt x="32" y="0"/>
                  </a:lnTo>
                  <a:lnTo>
                    <a:pt x="56" y="8"/>
                  </a:lnTo>
                  <a:lnTo>
                    <a:pt x="72" y="8"/>
                  </a:lnTo>
                  <a:lnTo>
                    <a:pt x="104" y="32"/>
                  </a:lnTo>
                  <a:lnTo>
                    <a:pt x="120" y="40"/>
                  </a:lnTo>
                  <a:lnTo>
                    <a:pt x="144" y="48"/>
                  </a:lnTo>
                  <a:lnTo>
                    <a:pt x="144" y="64"/>
                  </a:lnTo>
                  <a:lnTo>
                    <a:pt x="136" y="80"/>
                  </a:lnTo>
                  <a:lnTo>
                    <a:pt x="168" y="88"/>
                  </a:lnTo>
                  <a:lnTo>
                    <a:pt x="176" y="88"/>
                  </a:lnTo>
                  <a:lnTo>
                    <a:pt x="184" y="72"/>
                  </a:lnTo>
                  <a:lnTo>
                    <a:pt x="184" y="56"/>
                  </a:lnTo>
                  <a:lnTo>
                    <a:pt x="192" y="56"/>
                  </a:lnTo>
                  <a:lnTo>
                    <a:pt x="200" y="80"/>
                  </a:lnTo>
                  <a:lnTo>
                    <a:pt x="192" y="88"/>
                  </a:lnTo>
                  <a:lnTo>
                    <a:pt x="160" y="12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3" name="Freeform 170">
              <a:extLst>
                <a:ext uri="{FF2B5EF4-FFF2-40B4-BE49-F238E27FC236}">
                  <a16:creationId xmlns:a16="http://schemas.microsoft.com/office/drawing/2014/main" id="{13DE4F5B-38F0-973C-9DC3-D1395F7C749A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998788" y="4457701"/>
              <a:ext cx="138113" cy="192088"/>
            </a:xfrm>
            <a:custGeom>
              <a:avLst/>
              <a:gdLst>
                <a:gd name="T0" fmla="*/ 51792 w 64"/>
                <a:gd name="T1" fmla="*/ 0 h 104"/>
                <a:gd name="T2" fmla="*/ 17264 w 64"/>
                <a:gd name="T3" fmla="*/ 14776 h 104"/>
                <a:gd name="T4" fmla="*/ 17264 w 64"/>
                <a:gd name="T5" fmla="*/ 29552 h 104"/>
                <a:gd name="T6" fmla="*/ 34528 w 64"/>
                <a:gd name="T7" fmla="*/ 44328 h 104"/>
                <a:gd name="T8" fmla="*/ 17264 w 64"/>
                <a:gd name="T9" fmla="*/ 44328 h 104"/>
                <a:gd name="T10" fmla="*/ 0 w 64"/>
                <a:gd name="T11" fmla="*/ 73880 h 104"/>
                <a:gd name="T12" fmla="*/ 17264 w 64"/>
                <a:gd name="T13" fmla="*/ 88656 h 104"/>
                <a:gd name="T14" fmla="*/ 34528 w 64"/>
                <a:gd name="T15" fmla="*/ 88656 h 104"/>
                <a:gd name="T16" fmla="*/ 51792 w 64"/>
                <a:gd name="T17" fmla="*/ 118208 h 104"/>
                <a:gd name="T18" fmla="*/ 34528 w 64"/>
                <a:gd name="T19" fmla="*/ 162536 h 104"/>
                <a:gd name="T20" fmla="*/ 51792 w 64"/>
                <a:gd name="T21" fmla="*/ 192088 h 104"/>
                <a:gd name="T22" fmla="*/ 69057 w 64"/>
                <a:gd name="T23" fmla="*/ 192088 h 104"/>
                <a:gd name="T24" fmla="*/ 120849 w 64"/>
                <a:gd name="T25" fmla="*/ 177312 h 104"/>
                <a:gd name="T26" fmla="*/ 138113 w 64"/>
                <a:gd name="T27" fmla="*/ 177312 h 104"/>
                <a:gd name="T28" fmla="*/ 103585 w 64"/>
                <a:gd name="T29" fmla="*/ 118208 h 104"/>
                <a:gd name="T30" fmla="*/ 120849 w 64"/>
                <a:gd name="T31" fmla="*/ 73880 h 104"/>
                <a:gd name="T32" fmla="*/ 86321 w 64"/>
                <a:gd name="T33" fmla="*/ 44328 h 104"/>
                <a:gd name="T34" fmla="*/ 86321 w 64"/>
                <a:gd name="T35" fmla="*/ 14776 h 104"/>
                <a:gd name="T36" fmla="*/ 51792 w 64"/>
                <a:gd name="T37" fmla="*/ 0 h 10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4"/>
                <a:gd name="T58" fmla="*/ 0 h 104"/>
                <a:gd name="T59" fmla="*/ 64 w 64"/>
                <a:gd name="T60" fmla="*/ 104 h 10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4" h="104">
                  <a:moveTo>
                    <a:pt x="24" y="0"/>
                  </a:moveTo>
                  <a:lnTo>
                    <a:pt x="8" y="8"/>
                  </a:lnTo>
                  <a:lnTo>
                    <a:pt x="8" y="16"/>
                  </a:lnTo>
                  <a:lnTo>
                    <a:pt x="16" y="24"/>
                  </a:lnTo>
                  <a:lnTo>
                    <a:pt x="8" y="24"/>
                  </a:lnTo>
                  <a:lnTo>
                    <a:pt x="0" y="40"/>
                  </a:lnTo>
                  <a:lnTo>
                    <a:pt x="8" y="48"/>
                  </a:lnTo>
                  <a:lnTo>
                    <a:pt x="16" y="48"/>
                  </a:lnTo>
                  <a:lnTo>
                    <a:pt x="24" y="64"/>
                  </a:lnTo>
                  <a:lnTo>
                    <a:pt x="16" y="88"/>
                  </a:lnTo>
                  <a:lnTo>
                    <a:pt x="24" y="104"/>
                  </a:lnTo>
                  <a:lnTo>
                    <a:pt x="32" y="104"/>
                  </a:lnTo>
                  <a:lnTo>
                    <a:pt x="56" y="96"/>
                  </a:lnTo>
                  <a:lnTo>
                    <a:pt x="64" y="96"/>
                  </a:lnTo>
                  <a:lnTo>
                    <a:pt x="48" y="64"/>
                  </a:lnTo>
                  <a:lnTo>
                    <a:pt x="56" y="40"/>
                  </a:lnTo>
                  <a:lnTo>
                    <a:pt x="40" y="24"/>
                  </a:lnTo>
                  <a:lnTo>
                    <a:pt x="40" y="8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4" name="Freeform 171">
              <a:extLst>
                <a:ext uri="{FF2B5EF4-FFF2-40B4-BE49-F238E27FC236}">
                  <a16:creationId xmlns:a16="http://schemas.microsoft.com/office/drawing/2014/main" id="{B1A6FECA-C6CB-3878-8741-937C91F10DD4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4624388" y="3159126"/>
              <a:ext cx="52388" cy="30163"/>
            </a:xfrm>
            <a:custGeom>
              <a:avLst/>
              <a:gdLst>
                <a:gd name="T0" fmla="*/ 17463 w 24"/>
                <a:gd name="T1" fmla="*/ 0 h 16"/>
                <a:gd name="T2" fmla="*/ 0 w 24"/>
                <a:gd name="T3" fmla="*/ 15082 h 16"/>
                <a:gd name="T4" fmla="*/ 17463 w 24"/>
                <a:gd name="T5" fmla="*/ 30163 h 16"/>
                <a:gd name="T6" fmla="*/ 52388 w 24"/>
                <a:gd name="T7" fmla="*/ 30163 h 16"/>
                <a:gd name="T8" fmla="*/ 52388 w 24"/>
                <a:gd name="T9" fmla="*/ 0 h 16"/>
                <a:gd name="T10" fmla="*/ 17463 w 24"/>
                <a:gd name="T11" fmla="*/ 0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16"/>
                <a:gd name="T20" fmla="*/ 24 w 24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16">
                  <a:moveTo>
                    <a:pt x="8" y="0"/>
                  </a:moveTo>
                  <a:lnTo>
                    <a:pt x="0" y="8"/>
                  </a:lnTo>
                  <a:lnTo>
                    <a:pt x="8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5" name="Freeform 172">
              <a:extLst>
                <a:ext uri="{FF2B5EF4-FFF2-40B4-BE49-F238E27FC236}">
                  <a16:creationId xmlns:a16="http://schemas.microsoft.com/office/drawing/2014/main" id="{4541790E-A091-0F0C-F5AF-70950988A91C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5022851" y="3100388"/>
              <a:ext cx="68263" cy="73025"/>
            </a:xfrm>
            <a:custGeom>
              <a:avLst/>
              <a:gdLst>
                <a:gd name="T0" fmla="*/ 17066 w 32"/>
                <a:gd name="T1" fmla="*/ 73025 h 40"/>
                <a:gd name="T2" fmla="*/ 34132 w 32"/>
                <a:gd name="T3" fmla="*/ 73025 h 40"/>
                <a:gd name="T4" fmla="*/ 51197 w 32"/>
                <a:gd name="T5" fmla="*/ 43815 h 40"/>
                <a:gd name="T6" fmla="*/ 68263 w 32"/>
                <a:gd name="T7" fmla="*/ 29210 h 40"/>
                <a:gd name="T8" fmla="*/ 51197 w 32"/>
                <a:gd name="T9" fmla="*/ 29210 h 40"/>
                <a:gd name="T10" fmla="*/ 51197 w 32"/>
                <a:gd name="T11" fmla="*/ 0 h 40"/>
                <a:gd name="T12" fmla="*/ 17066 w 32"/>
                <a:gd name="T13" fmla="*/ 14605 h 40"/>
                <a:gd name="T14" fmla="*/ 0 w 32"/>
                <a:gd name="T15" fmla="*/ 29210 h 40"/>
                <a:gd name="T16" fmla="*/ 0 w 32"/>
                <a:gd name="T17" fmla="*/ 43815 h 40"/>
                <a:gd name="T18" fmla="*/ 17066 w 32"/>
                <a:gd name="T19" fmla="*/ 58420 h 40"/>
                <a:gd name="T20" fmla="*/ 17066 w 32"/>
                <a:gd name="T21" fmla="*/ 73025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40"/>
                <a:gd name="T35" fmla="*/ 32 w 32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40">
                  <a:moveTo>
                    <a:pt x="8" y="40"/>
                  </a:moveTo>
                  <a:lnTo>
                    <a:pt x="16" y="40"/>
                  </a:lnTo>
                  <a:lnTo>
                    <a:pt x="24" y="24"/>
                  </a:lnTo>
                  <a:lnTo>
                    <a:pt x="32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8" y="8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8" y="32"/>
                  </a:lnTo>
                  <a:lnTo>
                    <a:pt x="8" y="4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6" name="Freeform 173">
              <a:extLst>
                <a:ext uri="{FF2B5EF4-FFF2-40B4-BE49-F238E27FC236}">
                  <a16:creationId xmlns:a16="http://schemas.microsoft.com/office/drawing/2014/main" id="{3AC90617-5C94-52E7-EB85-4847B8ACCF40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4953001" y="3292476"/>
              <a:ext cx="17463" cy="14288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0 h 8"/>
                <a:gd name="T4" fmla="*/ 17463 w 8"/>
                <a:gd name="T5" fmla="*/ 14288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7" name="Freeform 174">
              <a:extLst>
                <a:ext uri="{FF2B5EF4-FFF2-40B4-BE49-F238E27FC236}">
                  <a16:creationId xmlns:a16="http://schemas.microsoft.com/office/drawing/2014/main" id="{2989782A-876F-2909-E25B-50A843A2772D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953001" y="3292476"/>
              <a:ext cx="17463" cy="14288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0 h 8"/>
                <a:gd name="T4" fmla="*/ 17463 w 8"/>
                <a:gd name="T5" fmla="*/ 14288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8" name="Freeform 175">
              <a:extLst>
                <a:ext uri="{FF2B5EF4-FFF2-40B4-BE49-F238E27FC236}">
                  <a16:creationId xmlns:a16="http://schemas.microsoft.com/office/drawing/2014/main" id="{F7586CC0-4AB5-CF3E-B5E1-930587B92798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5056188" y="3321051"/>
              <a:ext cx="190500" cy="74613"/>
            </a:xfrm>
            <a:custGeom>
              <a:avLst/>
              <a:gdLst>
                <a:gd name="T0" fmla="*/ 0 w 88"/>
                <a:gd name="T1" fmla="*/ 44768 h 40"/>
                <a:gd name="T2" fmla="*/ 0 w 88"/>
                <a:gd name="T3" fmla="*/ 59690 h 40"/>
                <a:gd name="T4" fmla="*/ 17318 w 88"/>
                <a:gd name="T5" fmla="*/ 59690 h 40"/>
                <a:gd name="T6" fmla="*/ 51955 w 88"/>
                <a:gd name="T7" fmla="*/ 59690 h 40"/>
                <a:gd name="T8" fmla="*/ 69273 w 88"/>
                <a:gd name="T9" fmla="*/ 59690 h 40"/>
                <a:gd name="T10" fmla="*/ 103909 w 88"/>
                <a:gd name="T11" fmla="*/ 74613 h 40"/>
                <a:gd name="T12" fmla="*/ 155864 w 88"/>
                <a:gd name="T13" fmla="*/ 59690 h 40"/>
                <a:gd name="T14" fmla="*/ 190500 w 88"/>
                <a:gd name="T15" fmla="*/ 29845 h 40"/>
                <a:gd name="T16" fmla="*/ 173182 w 88"/>
                <a:gd name="T17" fmla="*/ 14923 h 40"/>
                <a:gd name="T18" fmla="*/ 138545 w 88"/>
                <a:gd name="T19" fmla="*/ 0 h 40"/>
                <a:gd name="T20" fmla="*/ 121227 w 88"/>
                <a:gd name="T21" fmla="*/ 14923 h 40"/>
                <a:gd name="T22" fmla="*/ 103909 w 88"/>
                <a:gd name="T23" fmla="*/ 14923 h 40"/>
                <a:gd name="T24" fmla="*/ 69273 w 88"/>
                <a:gd name="T25" fmla="*/ 29845 h 40"/>
                <a:gd name="T26" fmla="*/ 86591 w 88"/>
                <a:gd name="T27" fmla="*/ 44768 h 40"/>
                <a:gd name="T28" fmla="*/ 0 w 88"/>
                <a:gd name="T29" fmla="*/ 44768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8"/>
                <a:gd name="T46" fmla="*/ 0 h 40"/>
                <a:gd name="T47" fmla="*/ 88 w 88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8" h="40">
                  <a:moveTo>
                    <a:pt x="0" y="24"/>
                  </a:moveTo>
                  <a:lnTo>
                    <a:pt x="0" y="32"/>
                  </a:lnTo>
                  <a:lnTo>
                    <a:pt x="8" y="32"/>
                  </a:lnTo>
                  <a:lnTo>
                    <a:pt x="24" y="32"/>
                  </a:lnTo>
                  <a:lnTo>
                    <a:pt x="32" y="32"/>
                  </a:lnTo>
                  <a:lnTo>
                    <a:pt x="48" y="40"/>
                  </a:lnTo>
                  <a:lnTo>
                    <a:pt x="72" y="32"/>
                  </a:lnTo>
                  <a:lnTo>
                    <a:pt x="88" y="16"/>
                  </a:lnTo>
                  <a:lnTo>
                    <a:pt x="80" y="8"/>
                  </a:lnTo>
                  <a:lnTo>
                    <a:pt x="64" y="0"/>
                  </a:lnTo>
                  <a:lnTo>
                    <a:pt x="56" y="8"/>
                  </a:lnTo>
                  <a:lnTo>
                    <a:pt x="48" y="8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9" name="Freeform 176">
              <a:extLst>
                <a:ext uri="{FF2B5EF4-FFF2-40B4-BE49-F238E27FC236}">
                  <a16:creationId xmlns:a16="http://schemas.microsoft.com/office/drawing/2014/main" id="{F38738A4-C5B2-4096-263D-88E1BB80AAF9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4953001" y="3365501"/>
              <a:ext cx="120650" cy="44450"/>
            </a:xfrm>
            <a:custGeom>
              <a:avLst/>
              <a:gdLst>
                <a:gd name="T0" fmla="*/ 34471 w 56"/>
                <a:gd name="T1" fmla="*/ 44450 h 24"/>
                <a:gd name="T2" fmla="*/ 17236 w 56"/>
                <a:gd name="T3" fmla="*/ 29633 h 24"/>
                <a:gd name="T4" fmla="*/ 17236 w 56"/>
                <a:gd name="T5" fmla="*/ 44450 h 24"/>
                <a:gd name="T6" fmla="*/ 0 w 56"/>
                <a:gd name="T7" fmla="*/ 29633 h 24"/>
                <a:gd name="T8" fmla="*/ 34471 w 56"/>
                <a:gd name="T9" fmla="*/ 0 h 24"/>
                <a:gd name="T10" fmla="*/ 51707 w 56"/>
                <a:gd name="T11" fmla="*/ 0 h 24"/>
                <a:gd name="T12" fmla="*/ 103414 w 56"/>
                <a:gd name="T13" fmla="*/ 0 h 24"/>
                <a:gd name="T14" fmla="*/ 103414 w 56"/>
                <a:gd name="T15" fmla="*/ 14817 h 24"/>
                <a:gd name="T16" fmla="*/ 120650 w 56"/>
                <a:gd name="T17" fmla="*/ 14817 h 24"/>
                <a:gd name="T18" fmla="*/ 103414 w 56"/>
                <a:gd name="T19" fmla="*/ 29633 h 24"/>
                <a:gd name="T20" fmla="*/ 86179 w 56"/>
                <a:gd name="T21" fmla="*/ 29633 h 24"/>
                <a:gd name="T22" fmla="*/ 86179 w 56"/>
                <a:gd name="T23" fmla="*/ 44450 h 24"/>
                <a:gd name="T24" fmla="*/ 68943 w 56"/>
                <a:gd name="T25" fmla="*/ 29633 h 24"/>
                <a:gd name="T26" fmla="*/ 34471 w 56"/>
                <a:gd name="T27" fmla="*/ 44450 h 2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6"/>
                <a:gd name="T43" fmla="*/ 0 h 24"/>
                <a:gd name="T44" fmla="*/ 56 w 56"/>
                <a:gd name="T45" fmla="*/ 24 h 2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6" h="24">
                  <a:moveTo>
                    <a:pt x="16" y="24"/>
                  </a:moveTo>
                  <a:lnTo>
                    <a:pt x="8" y="16"/>
                  </a:lnTo>
                  <a:lnTo>
                    <a:pt x="8" y="24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48" y="0"/>
                  </a:lnTo>
                  <a:lnTo>
                    <a:pt x="48" y="8"/>
                  </a:lnTo>
                  <a:lnTo>
                    <a:pt x="56" y="8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40" y="24"/>
                  </a:lnTo>
                  <a:lnTo>
                    <a:pt x="32" y="16"/>
                  </a:lnTo>
                  <a:lnTo>
                    <a:pt x="16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0" name="Freeform 177">
              <a:extLst>
                <a:ext uri="{FF2B5EF4-FFF2-40B4-BE49-F238E27FC236}">
                  <a16:creationId xmlns:a16="http://schemas.microsoft.com/office/drawing/2014/main" id="{BD1EDB3E-A0EC-3C04-5377-0A8A83EB6063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5316538" y="3498851"/>
              <a:ext cx="34925" cy="87313"/>
            </a:xfrm>
            <a:custGeom>
              <a:avLst/>
              <a:gdLst>
                <a:gd name="T0" fmla="*/ 17463 w 16"/>
                <a:gd name="T1" fmla="*/ 29104 h 48"/>
                <a:gd name="T2" fmla="*/ 34925 w 16"/>
                <a:gd name="T3" fmla="*/ 58209 h 48"/>
                <a:gd name="T4" fmla="*/ 17463 w 16"/>
                <a:gd name="T5" fmla="*/ 87313 h 48"/>
                <a:gd name="T6" fmla="*/ 0 w 16"/>
                <a:gd name="T7" fmla="*/ 72761 h 48"/>
                <a:gd name="T8" fmla="*/ 0 w 16"/>
                <a:gd name="T9" fmla="*/ 29104 h 48"/>
                <a:gd name="T10" fmla="*/ 0 w 16"/>
                <a:gd name="T11" fmla="*/ 0 h 48"/>
                <a:gd name="T12" fmla="*/ 17463 w 16"/>
                <a:gd name="T13" fmla="*/ 0 h 48"/>
                <a:gd name="T14" fmla="*/ 17463 w 16"/>
                <a:gd name="T15" fmla="*/ 29104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48"/>
                <a:gd name="T26" fmla="*/ 16 w 16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48">
                  <a:moveTo>
                    <a:pt x="8" y="16"/>
                  </a:moveTo>
                  <a:lnTo>
                    <a:pt x="16" y="32"/>
                  </a:lnTo>
                  <a:lnTo>
                    <a:pt x="8" y="48"/>
                  </a:lnTo>
                  <a:lnTo>
                    <a:pt x="0" y="40"/>
                  </a:lnTo>
                  <a:lnTo>
                    <a:pt x="0" y="16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1" name="Freeform 178">
              <a:extLst>
                <a:ext uri="{FF2B5EF4-FFF2-40B4-BE49-F238E27FC236}">
                  <a16:creationId xmlns:a16="http://schemas.microsoft.com/office/drawing/2014/main" id="{8FC00CDB-2197-40E1-F244-78630DB365AC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5211763" y="3335338"/>
              <a:ext cx="173038" cy="74613"/>
            </a:xfrm>
            <a:custGeom>
              <a:avLst/>
              <a:gdLst>
                <a:gd name="T0" fmla="*/ 17304 w 80"/>
                <a:gd name="T1" fmla="*/ 59690 h 40"/>
                <a:gd name="T2" fmla="*/ 51911 w 80"/>
                <a:gd name="T3" fmla="*/ 74613 h 40"/>
                <a:gd name="T4" fmla="*/ 121127 w 80"/>
                <a:gd name="T5" fmla="*/ 74613 h 40"/>
                <a:gd name="T6" fmla="*/ 138430 w 80"/>
                <a:gd name="T7" fmla="*/ 59690 h 40"/>
                <a:gd name="T8" fmla="*/ 155734 w 80"/>
                <a:gd name="T9" fmla="*/ 29845 h 40"/>
                <a:gd name="T10" fmla="*/ 173038 w 80"/>
                <a:gd name="T11" fmla="*/ 14923 h 40"/>
                <a:gd name="T12" fmla="*/ 155734 w 80"/>
                <a:gd name="T13" fmla="*/ 14923 h 40"/>
                <a:gd name="T14" fmla="*/ 155734 w 80"/>
                <a:gd name="T15" fmla="*/ 0 h 40"/>
                <a:gd name="T16" fmla="*/ 121127 w 80"/>
                <a:gd name="T17" fmla="*/ 0 h 40"/>
                <a:gd name="T18" fmla="*/ 69215 w 80"/>
                <a:gd name="T19" fmla="*/ 29845 h 40"/>
                <a:gd name="T20" fmla="*/ 34608 w 80"/>
                <a:gd name="T21" fmla="*/ 14923 h 40"/>
                <a:gd name="T22" fmla="*/ 0 w 80"/>
                <a:gd name="T23" fmla="*/ 44768 h 40"/>
                <a:gd name="T24" fmla="*/ 17304 w 80"/>
                <a:gd name="T25" fmla="*/ 59690 h 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"/>
                <a:gd name="T40" fmla="*/ 0 h 40"/>
                <a:gd name="T41" fmla="*/ 80 w 80"/>
                <a:gd name="T42" fmla="*/ 40 h 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" h="40">
                  <a:moveTo>
                    <a:pt x="8" y="32"/>
                  </a:moveTo>
                  <a:lnTo>
                    <a:pt x="24" y="40"/>
                  </a:lnTo>
                  <a:lnTo>
                    <a:pt x="56" y="40"/>
                  </a:lnTo>
                  <a:lnTo>
                    <a:pt x="64" y="32"/>
                  </a:lnTo>
                  <a:lnTo>
                    <a:pt x="72" y="16"/>
                  </a:lnTo>
                  <a:lnTo>
                    <a:pt x="80" y="8"/>
                  </a:lnTo>
                  <a:lnTo>
                    <a:pt x="72" y="8"/>
                  </a:lnTo>
                  <a:lnTo>
                    <a:pt x="72" y="0"/>
                  </a:lnTo>
                  <a:lnTo>
                    <a:pt x="56" y="0"/>
                  </a:lnTo>
                  <a:lnTo>
                    <a:pt x="32" y="16"/>
                  </a:lnTo>
                  <a:lnTo>
                    <a:pt x="16" y="8"/>
                  </a:lnTo>
                  <a:lnTo>
                    <a:pt x="0" y="24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" name="Freeform 179">
              <a:extLst>
                <a:ext uri="{FF2B5EF4-FFF2-40B4-BE49-F238E27FC236}">
                  <a16:creationId xmlns:a16="http://schemas.microsoft.com/office/drawing/2014/main" id="{2DFDE0F2-C49C-ABD5-2769-F9F6D78E8715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6076951" y="3852863"/>
              <a:ext cx="52388" cy="44450"/>
            </a:xfrm>
            <a:custGeom>
              <a:avLst/>
              <a:gdLst>
                <a:gd name="T0" fmla="*/ 0 w 24"/>
                <a:gd name="T1" fmla="*/ 29633 h 24"/>
                <a:gd name="T2" fmla="*/ 17463 w 24"/>
                <a:gd name="T3" fmla="*/ 0 h 24"/>
                <a:gd name="T4" fmla="*/ 52388 w 24"/>
                <a:gd name="T5" fmla="*/ 0 h 24"/>
                <a:gd name="T6" fmla="*/ 52388 w 24"/>
                <a:gd name="T7" fmla="*/ 14817 h 24"/>
                <a:gd name="T8" fmla="*/ 34925 w 24"/>
                <a:gd name="T9" fmla="*/ 14817 h 24"/>
                <a:gd name="T10" fmla="*/ 52388 w 24"/>
                <a:gd name="T11" fmla="*/ 44450 h 24"/>
                <a:gd name="T12" fmla="*/ 0 w 24"/>
                <a:gd name="T13" fmla="*/ 29633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24"/>
                <a:gd name="T23" fmla="*/ 24 w 2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24">
                  <a:moveTo>
                    <a:pt x="0" y="16"/>
                  </a:moveTo>
                  <a:lnTo>
                    <a:pt x="8" y="0"/>
                  </a:lnTo>
                  <a:lnTo>
                    <a:pt x="24" y="0"/>
                  </a:lnTo>
                  <a:lnTo>
                    <a:pt x="24" y="8"/>
                  </a:lnTo>
                  <a:lnTo>
                    <a:pt x="16" y="8"/>
                  </a:lnTo>
                  <a:lnTo>
                    <a:pt x="24" y="24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3" name="Freeform 181">
              <a:extLst>
                <a:ext uri="{FF2B5EF4-FFF2-40B4-BE49-F238E27FC236}">
                  <a16:creationId xmlns:a16="http://schemas.microsoft.com/office/drawing/2014/main" id="{3FF71DE8-C27A-0B45-B73B-1F769F8BE112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4416426" y="3689351"/>
              <a:ext cx="328613" cy="222250"/>
            </a:xfrm>
            <a:custGeom>
              <a:avLst/>
              <a:gdLst>
                <a:gd name="T0" fmla="*/ 328613 w 152"/>
                <a:gd name="T1" fmla="*/ 29633 h 120"/>
                <a:gd name="T2" fmla="*/ 328613 w 152"/>
                <a:gd name="T3" fmla="*/ 103717 h 120"/>
                <a:gd name="T4" fmla="*/ 259431 w 152"/>
                <a:gd name="T5" fmla="*/ 118533 h 120"/>
                <a:gd name="T6" fmla="*/ 259431 w 152"/>
                <a:gd name="T7" fmla="*/ 133350 h 120"/>
                <a:gd name="T8" fmla="*/ 224840 w 152"/>
                <a:gd name="T9" fmla="*/ 162983 h 120"/>
                <a:gd name="T10" fmla="*/ 138363 w 152"/>
                <a:gd name="T11" fmla="*/ 177800 h 120"/>
                <a:gd name="T12" fmla="*/ 121068 w 152"/>
                <a:gd name="T13" fmla="*/ 192617 h 120"/>
                <a:gd name="T14" fmla="*/ 121068 w 152"/>
                <a:gd name="T15" fmla="*/ 222250 h 120"/>
                <a:gd name="T16" fmla="*/ 0 w 152"/>
                <a:gd name="T17" fmla="*/ 222250 h 120"/>
                <a:gd name="T18" fmla="*/ 51886 w 152"/>
                <a:gd name="T19" fmla="*/ 207433 h 120"/>
                <a:gd name="T20" fmla="*/ 86477 w 152"/>
                <a:gd name="T21" fmla="*/ 177800 h 120"/>
                <a:gd name="T22" fmla="*/ 103773 w 152"/>
                <a:gd name="T23" fmla="*/ 148167 h 120"/>
                <a:gd name="T24" fmla="*/ 103773 w 152"/>
                <a:gd name="T25" fmla="*/ 118533 h 120"/>
                <a:gd name="T26" fmla="*/ 121068 w 152"/>
                <a:gd name="T27" fmla="*/ 88900 h 120"/>
                <a:gd name="T28" fmla="*/ 138363 w 152"/>
                <a:gd name="T29" fmla="*/ 74083 h 120"/>
                <a:gd name="T30" fmla="*/ 190250 w 152"/>
                <a:gd name="T31" fmla="*/ 44450 h 120"/>
                <a:gd name="T32" fmla="*/ 207545 w 152"/>
                <a:gd name="T33" fmla="*/ 0 h 120"/>
                <a:gd name="T34" fmla="*/ 224840 w 152"/>
                <a:gd name="T35" fmla="*/ 0 h 120"/>
                <a:gd name="T36" fmla="*/ 242136 w 152"/>
                <a:gd name="T37" fmla="*/ 14817 h 120"/>
                <a:gd name="T38" fmla="*/ 294022 w 152"/>
                <a:gd name="T39" fmla="*/ 14817 h 120"/>
                <a:gd name="T40" fmla="*/ 311318 w 152"/>
                <a:gd name="T41" fmla="*/ 14817 h 120"/>
                <a:gd name="T42" fmla="*/ 328613 w 152"/>
                <a:gd name="T43" fmla="*/ 29633 h 12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2"/>
                <a:gd name="T67" fmla="*/ 0 h 120"/>
                <a:gd name="T68" fmla="*/ 152 w 152"/>
                <a:gd name="T69" fmla="*/ 120 h 12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2" h="120">
                  <a:moveTo>
                    <a:pt x="152" y="16"/>
                  </a:moveTo>
                  <a:lnTo>
                    <a:pt x="152" y="56"/>
                  </a:lnTo>
                  <a:lnTo>
                    <a:pt x="120" y="64"/>
                  </a:lnTo>
                  <a:lnTo>
                    <a:pt x="120" y="72"/>
                  </a:lnTo>
                  <a:lnTo>
                    <a:pt x="104" y="88"/>
                  </a:lnTo>
                  <a:lnTo>
                    <a:pt x="64" y="96"/>
                  </a:lnTo>
                  <a:lnTo>
                    <a:pt x="56" y="104"/>
                  </a:lnTo>
                  <a:lnTo>
                    <a:pt x="56" y="120"/>
                  </a:lnTo>
                  <a:lnTo>
                    <a:pt x="0" y="120"/>
                  </a:lnTo>
                  <a:lnTo>
                    <a:pt x="24" y="112"/>
                  </a:lnTo>
                  <a:lnTo>
                    <a:pt x="40" y="96"/>
                  </a:lnTo>
                  <a:lnTo>
                    <a:pt x="48" y="80"/>
                  </a:lnTo>
                  <a:lnTo>
                    <a:pt x="48" y="64"/>
                  </a:lnTo>
                  <a:lnTo>
                    <a:pt x="56" y="48"/>
                  </a:lnTo>
                  <a:lnTo>
                    <a:pt x="64" y="40"/>
                  </a:lnTo>
                  <a:lnTo>
                    <a:pt x="88" y="24"/>
                  </a:lnTo>
                  <a:lnTo>
                    <a:pt x="96" y="0"/>
                  </a:lnTo>
                  <a:lnTo>
                    <a:pt x="104" y="0"/>
                  </a:lnTo>
                  <a:lnTo>
                    <a:pt x="112" y="8"/>
                  </a:lnTo>
                  <a:lnTo>
                    <a:pt x="136" y="8"/>
                  </a:lnTo>
                  <a:lnTo>
                    <a:pt x="144" y="8"/>
                  </a:lnTo>
                  <a:lnTo>
                    <a:pt x="152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4" name="Freeform 182">
              <a:extLst>
                <a:ext uri="{FF2B5EF4-FFF2-40B4-BE49-F238E27FC236}">
                  <a16:creationId xmlns:a16="http://schemas.microsoft.com/office/drawing/2014/main" id="{1FC8E73C-08B0-BA33-8E0D-D5C7FBCAA900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5973763" y="4338638"/>
              <a:ext cx="50800" cy="44450"/>
            </a:xfrm>
            <a:custGeom>
              <a:avLst/>
              <a:gdLst>
                <a:gd name="T0" fmla="*/ 33867 w 24"/>
                <a:gd name="T1" fmla="*/ 29633 h 24"/>
                <a:gd name="T2" fmla="*/ 50800 w 24"/>
                <a:gd name="T3" fmla="*/ 14817 h 24"/>
                <a:gd name="T4" fmla="*/ 33867 w 24"/>
                <a:gd name="T5" fmla="*/ 0 h 24"/>
                <a:gd name="T6" fmla="*/ 16933 w 24"/>
                <a:gd name="T7" fmla="*/ 14817 h 24"/>
                <a:gd name="T8" fmla="*/ 0 w 24"/>
                <a:gd name="T9" fmla="*/ 44450 h 24"/>
                <a:gd name="T10" fmla="*/ 33867 w 24"/>
                <a:gd name="T11" fmla="*/ 44450 h 24"/>
                <a:gd name="T12" fmla="*/ 33867 w 24"/>
                <a:gd name="T13" fmla="*/ 29633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24"/>
                <a:gd name="T23" fmla="*/ 24 w 2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24">
                  <a:moveTo>
                    <a:pt x="16" y="16"/>
                  </a:moveTo>
                  <a:lnTo>
                    <a:pt x="24" y="8"/>
                  </a:lnTo>
                  <a:lnTo>
                    <a:pt x="16" y="0"/>
                  </a:lnTo>
                  <a:lnTo>
                    <a:pt x="8" y="8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5" name="Freeform 183">
              <a:extLst>
                <a:ext uri="{FF2B5EF4-FFF2-40B4-BE49-F238E27FC236}">
                  <a16:creationId xmlns:a16="http://schemas.microsoft.com/office/drawing/2014/main" id="{C7FDCFCF-FB28-A023-E369-AE157DEFD146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5956301" y="4354513"/>
              <a:ext cx="293688" cy="382588"/>
            </a:xfrm>
            <a:custGeom>
              <a:avLst/>
              <a:gdLst>
                <a:gd name="T0" fmla="*/ 17276 w 136"/>
                <a:gd name="T1" fmla="*/ 220724 h 208"/>
                <a:gd name="T2" fmla="*/ 0 w 136"/>
                <a:gd name="T3" fmla="*/ 264869 h 208"/>
                <a:gd name="T4" fmla="*/ 0 w 136"/>
                <a:gd name="T5" fmla="*/ 353158 h 208"/>
                <a:gd name="T6" fmla="*/ 17276 w 136"/>
                <a:gd name="T7" fmla="*/ 382588 h 208"/>
                <a:gd name="T8" fmla="*/ 69103 w 136"/>
                <a:gd name="T9" fmla="*/ 323728 h 208"/>
                <a:gd name="T10" fmla="*/ 155482 w 136"/>
                <a:gd name="T11" fmla="*/ 264869 h 208"/>
                <a:gd name="T12" fmla="*/ 190033 w 136"/>
                <a:gd name="T13" fmla="*/ 220724 h 208"/>
                <a:gd name="T14" fmla="*/ 224585 w 136"/>
                <a:gd name="T15" fmla="*/ 176579 h 208"/>
                <a:gd name="T16" fmla="*/ 276412 w 136"/>
                <a:gd name="T17" fmla="*/ 44145 h 208"/>
                <a:gd name="T18" fmla="*/ 293688 w 136"/>
                <a:gd name="T19" fmla="*/ 14715 h 208"/>
                <a:gd name="T20" fmla="*/ 276412 w 136"/>
                <a:gd name="T21" fmla="*/ 0 h 208"/>
                <a:gd name="T22" fmla="*/ 259136 w 136"/>
                <a:gd name="T23" fmla="*/ 14715 h 208"/>
                <a:gd name="T24" fmla="*/ 224585 w 136"/>
                <a:gd name="T25" fmla="*/ 29430 h 208"/>
                <a:gd name="T26" fmla="*/ 172758 w 136"/>
                <a:gd name="T27" fmla="*/ 29430 h 208"/>
                <a:gd name="T28" fmla="*/ 103655 w 136"/>
                <a:gd name="T29" fmla="*/ 44145 h 208"/>
                <a:gd name="T30" fmla="*/ 86379 w 136"/>
                <a:gd name="T31" fmla="*/ 44145 h 208"/>
                <a:gd name="T32" fmla="*/ 51827 w 136"/>
                <a:gd name="T33" fmla="*/ 14715 h 208"/>
                <a:gd name="T34" fmla="*/ 51827 w 136"/>
                <a:gd name="T35" fmla="*/ 29430 h 208"/>
                <a:gd name="T36" fmla="*/ 51827 w 136"/>
                <a:gd name="T37" fmla="*/ 44145 h 208"/>
                <a:gd name="T38" fmla="*/ 86379 w 136"/>
                <a:gd name="T39" fmla="*/ 88290 h 208"/>
                <a:gd name="T40" fmla="*/ 172758 w 136"/>
                <a:gd name="T41" fmla="*/ 117719 h 208"/>
                <a:gd name="T42" fmla="*/ 190033 w 136"/>
                <a:gd name="T43" fmla="*/ 117719 h 208"/>
                <a:gd name="T44" fmla="*/ 120930 w 136"/>
                <a:gd name="T45" fmla="*/ 191294 h 208"/>
                <a:gd name="T46" fmla="*/ 69103 w 136"/>
                <a:gd name="T47" fmla="*/ 206009 h 208"/>
                <a:gd name="T48" fmla="*/ 17276 w 136"/>
                <a:gd name="T49" fmla="*/ 220724 h 20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36"/>
                <a:gd name="T76" fmla="*/ 0 h 208"/>
                <a:gd name="T77" fmla="*/ 136 w 136"/>
                <a:gd name="T78" fmla="*/ 208 h 20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36" h="208">
                  <a:moveTo>
                    <a:pt x="8" y="120"/>
                  </a:moveTo>
                  <a:lnTo>
                    <a:pt x="0" y="144"/>
                  </a:lnTo>
                  <a:lnTo>
                    <a:pt x="0" y="192"/>
                  </a:lnTo>
                  <a:lnTo>
                    <a:pt x="8" y="208"/>
                  </a:lnTo>
                  <a:lnTo>
                    <a:pt x="32" y="176"/>
                  </a:lnTo>
                  <a:lnTo>
                    <a:pt x="72" y="144"/>
                  </a:lnTo>
                  <a:lnTo>
                    <a:pt x="88" y="120"/>
                  </a:lnTo>
                  <a:lnTo>
                    <a:pt x="104" y="96"/>
                  </a:lnTo>
                  <a:lnTo>
                    <a:pt x="128" y="24"/>
                  </a:lnTo>
                  <a:lnTo>
                    <a:pt x="136" y="8"/>
                  </a:lnTo>
                  <a:lnTo>
                    <a:pt x="128" y="0"/>
                  </a:lnTo>
                  <a:lnTo>
                    <a:pt x="120" y="8"/>
                  </a:lnTo>
                  <a:lnTo>
                    <a:pt x="104" y="16"/>
                  </a:lnTo>
                  <a:lnTo>
                    <a:pt x="80" y="16"/>
                  </a:lnTo>
                  <a:lnTo>
                    <a:pt x="48" y="24"/>
                  </a:lnTo>
                  <a:lnTo>
                    <a:pt x="40" y="24"/>
                  </a:lnTo>
                  <a:lnTo>
                    <a:pt x="24" y="8"/>
                  </a:lnTo>
                  <a:lnTo>
                    <a:pt x="24" y="16"/>
                  </a:lnTo>
                  <a:lnTo>
                    <a:pt x="24" y="24"/>
                  </a:lnTo>
                  <a:lnTo>
                    <a:pt x="40" y="48"/>
                  </a:lnTo>
                  <a:lnTo>
                    <a:pt x="80" y="64"/>
                  </a:lnTo>
                  <a:lnTo>
                    <a:pt x="88" y="64"/>
                  </a:lnTo>
                  <a:lnTo>
                    <a:pt x="56" y="104"/>
                  </a:lnTo>
                  <a:lnTo>
                    <a:pt x="32" y="112"/>
                  </a:lnTo>
                  <a:lnTo>
                    <a:pt x="8" y="1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6" name="Freeform 184">
              <a:extLst>
                <a:ext uri="{FF2B5EF4-FFF2-40B4-BE49-F238E27FC236}">
                  <a16:creationId xmlns:a16="http://schemas.microsoft.com/office/drawing/2014/main" id="{EBE3F1AC-8E8A-C837-7228-F7CCAFFCD218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4295776" y="4295776"/>
              <a:ext cx="87313" cy="28575"/>
            </a:xfrm>
            <a:custGeom>
              <a:avLst/>
              <a:gdLst>
                <a:gd name="T0" fmla="*/ 0 w 40"/>
                <a:gd name="T1" fmla="*/ 28575 h 16"/>
                <a:gd name="T2" fmla="*/ 34925 w 40"/>
                <a:gd name="T3" fmla="*/ 14288 h 16"/>
                <a:gd name="T4" fmla="*/ 69850 w 40"/>
                <a:gd name="T5" fmla="*/ 28575 h 16"/>
                <a:gd name="T6" fmla="*/ 87313 w 40"/>
                <a:gd name="T7" fmla="*/ 14288 h 16"/>
                <a:gd name="T8" fmla="*/ 34925 w 40"/>
                <a:gd name="T9" fmla="*/ 0 h 16"/>
                <a:gd name="T10" fmla="*/ 0 w 40"/>
                <a:gd name="T11" fmla="*/ 14288 h 16"/>
                <a:gd name="T12" fmla="*/ 0 w 40"/>
                <a:gd name="T13" fmla="*/ 28575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0"/>
                <a:gd name="T22" fmla="*/ 0 h 16"/>
                <a:gd name="T23" fmla="*/ 40 w 40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0" h="16">
                  <a:moveTo>
                    <a:pt x="0" y="16"/>
                  </a:moveTo>
                  <a:lnTo>
                    <a:pt x="16" y="8"/>
                  </a:lnTo>
                  <a:lnTo>
                    <a:pt x="32" y="16"/>
                  </a:lnTo>
                  <a:lnTo>
                    <a:pt x="40" y="8"/>
                  </a:lnTo>
                  <a:lnTo>
                    <a:pt x="16" y="0"/>
                  </a:lnTo>
                  <a:lnTo>
                    <a:pt x="0" y="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7" name="Freeform 185">
              <a:extLst>
                <a:ext uri="{FF2B5EF4-FFF2-40B4-BE49-F238E27FC236}">
                  <a16:creationId xmlns:a16="http://schemas.microsoft.com/office/drawing/2014/main" id="{E1109F83-E03A-0DF9-BC73-A85283F6EFB2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4295776" y="4338638"/>
              <a:ext cx="87313" cy="44450"/>
            </a:xfrm>
            <a:custGeom>
              <a:avLst/>
              <a:gdLst>
                <a:gd name="T0" fmla="*/ 87313 w 40"/>
                <a:gd name="T1" fmla="*/ 0 h 24"/>
                <a:gd name="T2" fmla="*/ 87313 w 40"/>
                <a:gd name="T3" fmla="*/ 29633 h 24"/>
                <a:gd name="T4" fmla="*/ 52388 w 40"/>
                <a:gd name="T5" fmla="*/ 29633 h 24"/>
                <a:gd name="T6" fmla="*/ 52388 w 40"/>
                <a:gd name="T7" fmla="*/ 44450 h 24"/>
                <a:gd name="T8" fmla="*/ 34925 w 40"/>
                <a:gd name="T9" fmla="*/ 44450 h 24"/>
                <a:gd name="T10" fmla="*/ 34925 w 40"/>
                <a:gd name="T11" fmla="*/ 14817 h 24"/>
                <a:gd name="T12" fmla="*/ 17463 w 40"/>
                <a:gd name="T13" fmla="*/ 14817 h 24"/>
                <a:gd name="T14" fmla="*/ 0 w 40"/>
                <a:gd name="T15" fmla="*/ 0 h 24"/>
                <a:gd name="T16" fmla="*/ 87313 w 4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24"/>
                <a:gd name="T29" fmla="*/ 40 w 4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24">
                  <a:moveTo>
                    <a:pt x="40" y="0"/>
                  </a:moveTo>
                  <a:lnTo>
                    <a:pt x="40" y="16"/>
                  </a:lnTo>
                  <a:lnTo>
                    <a:pt x="24" y="16"/>
                  </a:lnTo>
                  <a:lnTo>
                    <a:pt x="24" y="24"/>
                  </a:lnTo>
                  <a:lnTo>
                    <a:pt x="16" y="24"/>
                  </a:lnTo>
                  <a:lnTo>
                    <a:pt x="16" y="8"/>
                  </a:lnTo>
                  <a:lnTo>
                    <a:pt x="8" y="8"/>
                  </a:lnTo>
                  <a:lnTo>
                    <a:pt x="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8" name="Freeform 186">
              <a:extLst>
                <a:ext uri="{FF2B5EF4-FFF2-40B4-BE49-F238E27FC236}">
                  <a16:creationId xmlns:a16="http://schemas.microsoft.com/office/drawing/2014/main" id="{ED654CE8-8C17-688B-BF23-39149D58C0D0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4383088" y="4413251"/>
              <a:ext cx="85725" cy="88900"/>
            </a:xfrm>
            <a:custGeom>
              <a:avLst/>
              <a:gdLst>
                <a:gd name="T0" fmla="*/ 0 w 40"/>
                <a:gd name="T1" fmla="*/ 14817 h 48"/>
                <a:gd name="T2" fmla="*/ 17145 w 40"/>
                <a:gd name="T3" fmla="*/ 59267 h 48"/>
                <a:gd name="T4" fmla="*/ 51435 w 40"/>
                <a:gd name="T5" fmla="*/ 88900 h 48"/>
                <a:gd name="T6" fmla="*/ 85725 w 40"/>
                <a:gd name="T7" fmla="*/ 44450 h 48"/>
                <a:gd name="T8" fmla="*/ 85725 w 40"/>
                <a:gd name="T9" fmla="*/ 29633 h 48"/>
                <a:gd name="T10" fmla="*/ 68580 w 40"/>
                <a:gd name="T11" fmla="*/ 0 h 48"/>
                <a:gd name="T12" fmla="*/ 34290 w 40"/>
                <a:gd name="T13" fmla="*/ 0 h 48"/>
                <a:gd name="T14" fmla="*/ 0 w 40"/>
                <a:gd name="T15" fmla="*/ 14817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0"/>
                <a:gd name="T25" fmla="*/ 0 h 48"/>
                <a:gd name="T26" fmla="*/ 40 w 40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0" h="48">
                  <a:moveTo>
                    <a:pt x="0" y="8"/>
                  </a:moveTo>
                  <a:lnTo>
                    <a:pt x="8" y="32"/>
                  </a:lnTo>
                  <a:lnTo>
                    <a:pt x="24" y="48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9" name="Freeform 187">
              <a:extLst>
                <a:ext uri="{FF2B5EF4-FFF2-40B4-BE49-F238E27FC236}">
                  <a16:creationId xmlns:a16="http://schemas.microsoft.com/office/drawing/2014/main" id="{7A1402E0-7BA9-38D9-82C3-5AE930676563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5610226" y="4752976"/>
              <a:ext cx="52388" cy="58738"/>
            </a:xfrm>
            <a:custGeom>
              <a:avLst/>
              <a:gdLst>
                <a:gd name="T0" fmla="*/ 0 w 24"/>
                <a:gd name="T1" fmla="*/ 14685 h 32"/>
                <a:gd name="T2" fmla="*/ 52388 w 24"/>
                <a:gd name="T3" fmla="*/ 0 h 32"/>
                <a:gd name="T4" fmla="*/ 52388 w 24"/>
                <a:gd name="T5" fmla="*/ 29369 h 32"/>
                <a:gd name="T6" fmla="*/ 17463 w 24"/>
                <a:gd name="T7" fmla="*/ 58738 h 32"/>
                <a:gd name="T8" fmla="*/ 17463 w 24"/>
                <a:gd name="T9" fmla="*/ 29369 h 32"/>
                <a:gd name="T10" fmla="*/ 0 w 24"/>
                <a:gd name="T11" fmla="*/ 14685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32"/>
                <a:gd name="T20" fmla="*/ 24 w 24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32">
                  <a:moveTo>
                    <a:pt x="0" y="8"/>
                  </a:moveTo>
                  <a:lnTo>
                    <a:pt x="24" y="0"/>
                  </a:lnTo>
                  <a:lnTo>
                    <a:pt x="24" y="16"/>
                  </a:lnTo>
                  <a:lnTo>
                    <a:pt x="8" y="32"/>
                  </a:lnTo>
                  <a:lnTo>
                    <a:pt x="8" y="1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0" name="Freeform 188">
              <a:extLst>
                <a:ext uri="{FF2B5EF4-FFF2-40B4-BE49-F238E27FC236}">
                  <a16:creationId xmlns:a16="http://schemas.microsoft.com/office/drawing/2014/main" id="{71F1CE81-4ED2-5A13-5E83-9BAB35DBD652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610226" y="4722813"/>
              <a:ext cx="52388" cy="44450"/>
            </a:xfrm>
            <a:custGeom>
              <a:avLst/>
              <a:gdLst>
                <a:gd name="T0" fmla="*/ 52388 w 24"/>
                <a:gd name="T1" fmla="*/ 29633 h 24"/>
                <a:gd name="T2" fmla="*/ 0 w 24"/>
                <a:gd name="T3" fmla="*/ 44450 h 24"/>
                <a:gd name="T4" fmla="*/ 0 w 24"/>
                <a:gd name="T5" fmla="*/ 29633 h 24"/>
                <a:gd name="T6" fmla="*/ 17463 w 24"/>
                <a:gd name="T7" fmla="*/ 0 h 24"/>
                <a:gd name="T8" fmla="*/ 34925 w 24"/>
                <a:gd name="T9" fmla="*/ 0 h 24"/>
                <a:gd name="T10" fmla="*/ 52388 w 24"/>
                <a:gd name="T11" fmla="*/ 14817 h 24"/>
                <a:gd name="T12" fmla="*/ 52388 w 24"/>
                <a:gd name="T13" fmla="*/ 29633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24"/>
                <a:gd name="T23" fmla="*/ 24 w 2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24">
                  <a:moveTo>
                    <a:pt x="24" y="16"/>
                  </a:moveTo>
                  <a:lnTo>
                    <a:pt x="0" y="24"/>
                  </a:lnTo>
                  <a:lnTo>
                    <a:pt x="0" y="16"/>
                  </a:lnTo>
                  <a:lnTo>
                    <a:pt x="8" y="0"/>
                  </a:lnTo>
                  <a:lnTo>
                    <a:pt x="16" y="0"/>
                  </a:lnTo>
                  <a:lnTo>
                    <a:pt x="24" y="8"/>
                  </a:lnTo>
                  <a:lnTo>
                    <a:pt x="24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1" name="Freeform 189">
              <a:extLst>
                <a:ext uri="{FF2B5EF4-FFF2-40B4-BE49-F238E27FC236}">
                  <a16:creationId xmlns:a16="http://schemas.microsoft.com/office/drawing/2014/main" id="{1DF7527E-6827-73B5-B792-7A6AB0B7C9DA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45151" y="5416551"/>
              <a:ext cx="34925" cy="28575"/>
            </a:xfrm>
            <a:custGeom>
              <a:avLst/>
              <a:gdLst>
                <a:gd name="T0" fmla="*/ 34925 w 16"/>
                <a:gd name="T1" fmla="*/ 14288 h 16"/>
                <a:gd name="T2" fmla="*/ 34925 w 16"/>
                <a:gd name="T3" fmla="*/ 0 h 16"/>
                <a:gd name="T4" fmla="*/ 17463 w 16"/>
                <a:gd name="T5" fmla="*/ 0 h 16"/>
                <a:gd name="T6" fmla="*/ 0 w 16"/>
                <a:gd name="T7" fmla="*/ 28575 h 16"/>
                <a:gd name="T8" fmla="*/ 17463 w 16"/>
                <a:gd name="T9" fmla="*/ 28575 h 16"/>
                <a:gd name="T10" fmla="*/ 34925 w 16"/>
                <a:gd name="T11" fmla="*/ 14288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16"/>
                <a:gd name="T20" fmla="*/ 16 w 16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16">
                  <a:moveTo>
                    <a:pt x="16" y="8"/>
                  </a:moveTo>
                  <a:lnTo>
                    <a:pt x="16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8" y="16"/>
                  </a:lnTo>
                  <a:lnTo>
                    <a:pt x="16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2" name="Freeform 190">
              <a:extLst>
                <a:ext uri="{FF2B5EF4-FFF2-40B4-BE49-F238E27FC236}">
                  <a16:creationId xmlns:a16="http://schemas.microsoft.com/office/drawing/2014/main" id="{BBC97133-6641-2536-C463-DA2C009D7EAA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334001" y="5194301"/>
              <a:ext cx="276225" cy="250825"/>
            </a:xfrm>
            <a:custGeom>
              <a:avLst/>
              <a:gdLst>
                <a:gd name="T0" fmla="*/ 155377 w 128"/>
                <a:gd name="T1" fmla="*/ 0 h 136"/>
                <a:gd name="T2" fmla="*/ 189905 w 128"/>
                <a:gd name="T3" fmla="*/ 44263 h 136"/>
                <a:gd name="T4" fmla="*/ 224433 w 128"/>
                <a:gd name="T5" fmla="*/ 73772 h 136"/>
                <a:gd name="T6" fmla="*/ 241697 w 128"/>
                <a:gd name="T7" fmla="*/ 103281 h 136"/>
                <a:gd name="T8" fmla="*/ 276225 w 128"/>
                <a:gd name="T9" fmla="*/ 118035 h 136"/>
                <a:gd name="T10" fmla="*/ 224433 w 128"/>
                <a:gd name="T11" fmla="*/ 147544 h 136"/>
                <a:gd name="T12" fmla="*/ 155377 w 128"/>
                <a:gd name="T13" fmla="*/ 206562 h 136"/>
                <a:gd name="T14" fmla="*/ 138113 w 128"/>
                <a:gd name="T15" fmla="*/ 206562 h 136"/>
                <a:gd name="T16" fmla="*/ 103584 w 128"/>
                <a:gd name="T17" fmla="*/ 206562 h 136"/>
                <a:gd name="T18" fmla="*/ 69056 w 128"/>
                <a:gd name="T19" fmla="*/ 236071 h 136"/>
                <a:gd name="T20" fmla="*/ 34528 w 128"/>
                <a:gd name="T21" fmla="*/ 250825 h 136"/>
                <a:gd name="T22" fmla="*/ 17264 w 128"/>
                <a:gd name="T23" fmla="*/ 236071 h 136"/>
                <a:gd name="T24" fmla="*/ 34528 w 128"/>
                <a:gd name="T25" fmla="*/ 206562 h 136"/>
                <a:gd name="T26" fmla="*/ 0 w 128"/>
                <a:gd name="T27" fmla="*/ 191807 h 136"/>
                <a:gd name="T28" fmla="*/ 0 w 128"/>
                <a:gd name="T29" fmla="*/ 118035 h 136"/>
                <a:gd name="T30" fmla="*/ 34528 w 128"/>
                <a:gd name="T31" fmla="*/ 103281 h 136"/>
                <a:gd name="T32" fmla="*/ 34528 w 128"/>
                <a:gd name="T33" fmla="*/ 14754 h 136"/>
                <a:gd name="T34" fmla="*/ 103584 w 128"/>
                <a:gd name="T35" fmla="*/ 0 h 136"/>
                <a:gd name="T36" fmla="*/ 103584 w 128"/>
                <a:gd name="T37" fmla="*/ 14754 h 136"/>
                <a:gd name="T38" fmla="*/ 120848 w 128"/>
                <a:gd name="T39" fmla="*/ 0 h 136"/>
                <a:gd name="T40" fmla="*/ 155377 w 128"/>
                <a:gd name="T41" fmla="*/ 0 h 1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8"/>
                <a:gd name="T64" fmla="*/ 0 h 136"/>
                <a:gd name="T65" fmla="*/ 128 w 128"/>
                <a:gd name="T66" fmla="*/ 136 h 1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8" h="136">
                  <a:moveTo>
                    <a:pt x="72" y="0"/>
                  </a:moveTo>
                  <a:lnTo>
                    <a:pt x="88" y="24"/>
                  </a:lnTo>
                  <a:lnTo>
                    <a:pt x="104" y="40"/>
                  </a:lnTo>
                  <a:lnTo>
                    <a:pt x="112" y="56"/>
                  </a:lnTo>
                  <a:lnTo>
                    <a:pt x="128" y="64"/>
                  </a:lnTo>
                  <a:lnTo>
                    <a:pt x="104" y="80"/>
                  </a:lnTo>
                  <a:lnTo>
                    <a:pt x="72" y="112"/>
                  </a:lnTo>
                  <a:lnTo>
                    <a:pt x="64" y="112"/>
                  </a:lnTo>
                  <a:lnTo>
                    <a:pt x="48" y="112"/>
                  </a:lnTo>
                  <a:lnTo>
                    <a:pt x="32" y="128"/>
                  </a:lnTo>
                  <a:lnTo>
                    <a:pt x="16" y="136"/>
                  </a:lnTo>
                  <a:lnTo>
                    <a:pt x="8" y="128"/>
                  </a:lnTo>
                  <a:lnTo>
                    <a:pt x="16" y="112"/>
                  </a:lnTo>
                  <a:lnTo>
                    <a:pt x="0" y="104"/>
                  </a:lnTo>
                  <a:lnTo>
                    <a:pt x="0" y="64"/>
                  </a:lnTo>
                  <a:lnTo>
                    <a:pt x="16" y="56"/>
                  </a:lnTo>
                  <a:lnTo>
                    <a:pt x="16" y="8"/>
                  </a:lnTo>
                  <a:lnTo>
                    <a:pt x="48" y="0"/>
                  </a:lnTo>
                  <a:lnTo>
                    <a:pt x="48" y="8"/>
                  </a:lnTo>
                  <a:lnTo>
                    <a:pt x="56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3" name="Freeform 191">
              <a:extLst>
                <a:ext uri="{FF2B5EF4-FFF2-40B4-BE49-F238E27FC236}">
                  <a16:creationId xmlns:a16="http://schemas.microsoft.com/office/drawing/2014/main" id="{2DCC048E-7D9B-DB0B-8D47-FEEA024D7C7C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2843213" y="5859463"/>
              <a:ext cx="34925" cy="44450"/>
            </a:xfrm>
            <a:custGeom>
              <a:avLst/>
              <a:gdLst>
                <a:gd name="T0" fmla="*/ 0 w 16"/>
                <a:gd name="T1" fmla="*/ 0 h 24"/>
                <a:gd name="T2" fmla="*/ 17463 w 16"/>
                <a:gd name="T3" fmla="*/ 44450 h 24"/>
                <a:gd name="T4" fmla="*/ 34925 w 16"/>
                <a:gd name="T5" fmla="*/ 44450 h 24"/>
                <a:gd name="T6" fmla="*/ 34925 w 16"/>
                <a:gd name="T7" fmla="*/ 14817 h 24"/>
                <a:gd name="T8" fmla="*/ 0 w 1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24"/>
                <a:gd name="T17" fmla="*/ 16 w 1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24">
                  <a:moveTo>
                    <a:pt x="0" y="0"/>
                  </a:moveTo>
                  <a:lnTo>
                    <a:pt x="8" y="24"/>
                  </a:lnTo>
                  <a:lnTo>
                    <a:pt x="16" y="24"/>
                  </a:lnTo>
                  <a:lnTo>
                    <a:pt x="16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4" name="Freeform 192">
              <a:extLst>
                <a:ext uri="{FF2B5EF4-FFF2-40B4-BE49-F238E27FC236}">
                  <a16:creationId xmlns:a16="http://schemas.microsoft.com/office/drawing/2014/main" id="{9FEE0689-FDFC-FBE1-72AA-AE3A31F6B879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3309938" y="6124576"/>
              <a:ext cx="69850" cy="14288"/>
            </a:xfrm>
            <a:custGeom>
              <a:avLst/>
              <a:gdLst>
                <a:gd name="T0" fmla="*/ 0 w 32"/>
                <a:gd name="T1" fmla="*/ 0 h 8"/>
                <a:gd name="T2" fmla="*/ 34925 w 32"/>
                <a:gd name="T3" fmla="*/ 14288 h 8"/>
                <a:gd name="T4" fmla="*/ 69850 w 32"/>
                <a:gd name="T5" fmla="*/ 0 h 8"/>
                <a:gd name="T6" fmla="*/ 52387 w 32"/>
                <a:gd name="T7" fmla="*/ 0 h 8"/>
                <a:gd name="T8" fmla="*/ 17463 w 32"/>
                <a:gd name="T9" fmla="*/ 0 h 8"/>
                <a:gd name="T10" fmla="*/ 0 w 32"/>
                <a:gd name="T11" fmla="*/ 0 h 8"/>
                <a:gd name="T12" fmla="*/ 17463 w 32"/>
                <a:gd name="T13" fmla="*/ 0 h 8"/>
                <a:gd name="T14" fmla="*/ 17463 w 32"/>
                <a:gd name="T15" fmla="*/ 14288 h 8"/>
                <a:gd name="T16" fmla="*/ 0 w 32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8"/>
                <a:gd name="T29" fmla="*/ 32 w 32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8">
                  <a:moveTo>
                    <a:pt x="0" y="0"/>
                  </a:moveTo>
                  <a:lnTo>
                    <a:pt x="16" y="8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5" name="Freeform 193">
              <a:extLst>
                <a:ext uri="{FF2B5EF4-FFF2-40B4-BE49-F238E27FC236}">
                  <a16:creationId xmlns:a16="http://schemas.microsoft.com/office/drawing/2014/main" id="{38B68AE2-E5F1-DEE4-9B12-455B7D60C45B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2998788" y="4383088"/>
              <a:ext cx="17463" cy="30163"/>
            </a:xfrm>
            <a:custGeom>
              <a:avLst/>
              <a:gdLst>
                <a:gd name="T0" fmla="*/ 0 w 8"/>
                <a:gd name="T1" fmla="*/ 30163 h 16"/>
                <a:gd name="T2" fmla="*/ 17463 w 8"/>
                <a:gd name="T3" fmla="*/ 30163 h 16"/>
                <a:gd name="T4" fmla="*/ 17463 w 8"/>
                <a:gd name="T5" fmla="*/ 0 h 16"/>
                <a:gd name="T6" fmla="*/ 0 w 8"/>
                <a:gd name="T7" fmla="*/ 15082 h 16"/>
                <a:gd name="T8" fmla="*/ 0 w 8"/>
                <a:gd name="T9" fmla="*/ 30163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6"/>
                <a:gd name="T17" fmla="*/ 8 w 8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6">
                  <a:moveTo>
                    <a:pt x="0" y="16"/>
                  </a:moveTo>
                  <a:lnTo>
                    <a:pt x="8" y="16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6" name="Freeform 194">
              <a:extLst>
                <a:ext uri="{FF2B5EF4-FFF2-40B4-BE49-F238E27FC236}">
                  <a16:creationId xmlns:a16="http://schemas.microsoft.com/office/drawing/2014/main" id="{FCEA2256-9462-F9EF-38D3-71BA30E0B19D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2549526" y="4176713"/>
              <a:ext cx="52388" cy="14288"/>
            </a:xfrm>
            <a:custGeom>
              <a:avLst/>
              <a:gdLst>
                <a:gd name="T0" fmla="*/ 0 w 24"/>
                <a:gd name="T1" fmla="*/ 0 h 8"/>
                <a:gd name="T2" fmla="*/ 17463 w 24"/>
                <a:gd name="T3" fmla="*/ 14288 h 8"/>
                <a:gd name="T4" fmla="*/ 52388 w 24"/>
                <a:gd name="T5" fmla="*/ 14288 h 8"/>
                <a:gd name="T6" fmla="*/ 52388 w 24"/>
                <a:gd name="T7" fmla="*/ 0 h 8"/>
                <a:gd name="T8" fmla="*/ 17463 w 24"/>
                <a:gd name="T9" fmla="*/ 0 h 8"/>
                <a:gd name="T10" fmla="*/ 0 w 24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8"/>
                <a:gd name="T20" fmla="*/ 24 w 2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8">
                  <a:moveTo>
                    <a:pt x="0" y="0"/>
                  </a:moveTo>
                  <a:lnTo>
                    <a:pt x="8" y="8"/>
                  </a:lnTo>
                  <a:lnTo>
                    <a:pt x="24" y="8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7" name="Freeform 195">
              <a:extLst>
                <a:ext uri="{FF2B5EF4-FFF2-40B4-BE49-F238E27FC236}">
                  <a16:creationId xmlns:a16="http://schemas.microsoft.com/office/drawing/2014/main" id="{0734CE6A-B0AD-DEC3-6341-797305C2F1F4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2428876" y="4073526"/>
              <a:ext cx="17463" cy="14288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8" name="Freeform 196">
              <a:extLst>
                <a:ext uri="{FF2B5EF4-FFF2-40B4-BE49-F238E27FC236}">
                  <a16:creationId xmlns:a16="http://schemas.microsoft.com/office/drawing/2014/main" id="{F87A1BE0-1083-7ACA-9727-9D67323D4DA9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2376488" y="4044951"/>
              <a:ext cx="293688" cy="87313"/>
            </a:xfrm>
            <a:custGeom>
              <a:avLst/>
              <a:gdLst>
                <a:gd name="T0" fmla="*/ 0 w 136"/>
                <a:gd name="T1" fmla="*/ 43657 h 48"/>
                <a:gd name="T2" fmla="*/ 17276 w 136"/>
                <a:gd name="T3" fmla="*/ 43657 h 48"/>
                <a:gd name="T4" fmla="*/ 69103 w 136"/>
                <a:gd name="T5" fmla="*/ 14552 h 48"/>
                <a:gd name="T6" fmla="*/ 103655 w 136"/>
                <a:gd name="T7" fmla="*/ 14552 h 48"/>
                <a:gd name="T8" fmla="*/ 86379 w 136"/>
                <a:gd name="T9" fmla="*/ 29104 h 48"/>
                <a:gd name="T10" fmla="*/ 172758 w 136"/>
                <a:gd name="T11" fmla="*/ 43657 h 48"/>
                <a:gd name="T12" fmla="*/ 190033 w 136"/>
                <a:gd name="T13" fmla="*/ 72761 h 48"/>
                <a:gd name="T14" fmla="*/ 207309 w 136"/>
                <a:gd name="T15" fmla="*/ 72761 h 48"/>
                <a:gd name="T16" fmla="*/ 190033 w 136"/>
                <a:gd name="T17" fmla="*/ 87313 h 48"/>
                <a:gd name="T18" fmla="*/ 293688 w 136"/>
                <a:gd name="T19" fmla="*/ 87313 h 48"/>
                <a:gd name="T20" fmla="*/ 276412 w 136"/>
                <a:gd name="T21" fmla="*/ 72761 h 48"/>
                <a:gd name="T22" fmla="*/ 259136 w 136"/>
                <a:gd name="T23" fmla="*/ 72761 h 48"/>
                <a:gd name="T24" fmla="*/ 259136 w 136"/>
                <a:gd name="T25" fmla="*/ 58209 h 48"/>
                <a:gd name="T26" fmla="*/ 224585 w 136"/>
                <a:gd name="T27" fmla="*/ 58209 h 48"/>
                <a:gd name="T28" fmla="*/ 190033 w 136"/>
                <a:gd name="T29" fmla="*/ 29104 h 48"/>
                <a:gd name="T30" fmla="*/ 103655 w 136"/>
                <a:gd name="T31" fmla="*/ 0 h 48"/>
                <a:gd name="T32" fmla="*/ 34552 w 136"/>
                <a:gd name="T33" fmla="*/ 14552 h 48"/>
                <a:gd name="T34" fmla="*/ 0 w 136"/>
                <a:gd name="T35" fmla="*/ 43657 h 4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6"/>
                <a:gd name="T55" fmla="*/ 0 h 48"/>
                <a:gd name="T56" fmla="*/ 136 w 136"/>
                <a:gd name="T57" fmla="*/ 48 h 4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6" h="48">
                  <a:moveTo>
                    <a:pt x="0" y="24"/>
                  </a:moveTo>
                  <a:lnTo>
                    <a:pt x="8" y="24"/>
                  </a:lnTo>
                  <a:lnTo>
                    <a:pt x="32" y="8"/>
                  </a:lnTo>
                  <a:lnTo>
                    <a:pt x="48" y="8"/>
                  </a:lnTo>
                  <a:lnTo>
                    <a:pt x="40" y="16"/>
                  </a:lnTo>
                  <a:lnTo>
                    <a:pt x="80" y="24"/>
                  </a:lnTo>
                  <a:lnTo>
                    <a:pt x="88" y="40"/>
                  </a:lnTo>
                  <a:lnTo>
                    <a:pt x="96" y="40"/>
                  </a:lnTo>
                  <a:lnTo>
                    <a:pt x="88" y="48"/>
                  </a:lnTo>
                  <a:lnTo>
                    <a:pt x="136" y="48"/>
                  </a:lnTo>
                  <a:lnTo>
                    <a:pt x="128" y="40"/>
                  </a:lnTo>
                  <a:lnTo>
                    <a:pt x="120" y="40"/>
                  </a:lnTo>
                  <a:lnTo>
                    <a:pt x="120" y="32"/>
                  </a:lnTo>
                  <a:lnTo>
                    <a:pt x="104" y="32"/>
                  </a:lnTo>
                  <a:lnTo>
                    <a:pt x="88" y="16"/>
                  </a:lnTo>
                  <a:lnTo>
                    <a:pt x="48" y="0"/>
                  </a:lnTo>
                  <a:lnTo>
                    <a:pt x="16" y="8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9" name="Freeform 197">
              <a:extLst>
                <a:ext uri="{FF2B5EF4-FFF2-40B4-BE49-F238E27FC236}">
                  <a16:creationId xmlns:a16="http://schemas.microsoft.com/office/drawing/2014/main" id="{124C8AFB-88B1-58AE-43ED-E0C42EF7C8CF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2860676" y="4176713"/>
              <a:ext cx="52388" cy="14288"/>
            </a:xfrm>
            <a:custGeom>
              <a:avLst/>
              <a:gdLst>
                <a:gd name="T0" fmla="*/ 0 w 24"/>
                <a:gd name="T1" fmla="*/ 14288 h 8"/>
                <a:gd name="T2" fmla="*/ 34925 w 24"/>
                <a:gd name="T3" fmla="*/ 14288 h 8"/>
                <a:gd name="T4" fmla="*/ 52388 w 24"/>
                <a:gd name="T5" fmla="*/ 0 h 8"/>
                <a:gd name="T6" fmla="*/ 34925 w 24"/>
                <a:gd name="T7" fmla="*/ 0 h 8"/>
                <a:gd name="T8" fmla="*/ 0 w 24"/>
                <a:gd name="T9" fmla="*/ 0 h 8"/>
                <a:gd name="T10" fmla="*/ 0 w 24"/>
                <a:gd name="T11" fmla="*/ 1428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8"/>
                <a:gd name="T20" fmla="*/ 24 w 2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8">
                  <a:moveTo>
                    <a:pt x="0" y="8"/>
                  </a:moveTo>
                  <a:lnTo>
                    <a:pt x="16" y="8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0" name="Line 198">
              <a:extLst>
                <a:ext uri="{FF2B5EF4-FFF2-40B4-BE49-F238E27FC236}">
                  <a16:creationId xmlns:a16="http://schemas.microsoft.com/office/drawing/2014/main" id="{3308BE59-E2B4-08B9-B233-BFC6BD2B22F4}"/>
                </a:ext>
              </a:extLst>
            </p:cNvPr>
            <p:cNvSpPr>
              <a:spLocks noChangeShapeType="1"/>
            </p:cNvSpPr>
            <p:nvPr>
              <p:custDataLst>
                <p:tags r:id="rId163"/>
              </p:custDataLst>
            </p:nvPr>
          </p:nvSpPr>
          <p:spPr bwMode="auto">
            <a:xfrm>
              <a:off x="2792413" y="4354513"/>
              <a:ext cx="1588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1" name="Line 199">
              <a:extLst>
                <a:ext uri="{FF2B5EF4-FFF2-40B4-BE49-F238E27FC236}">
                  <a16:creationId xmlns:a16="http://schemas.microsoft.com/office/drawing/2014/main" id="{AF328F0F-2145-8B0F-7416-36993E93DB64}"/>
                </a:ext>
              </a:extLst>
            </p:cNvPr>
            <p:cNvSpPr>
              <a:spLocks noChangeShapeType="1"/>
            </p:cNvSpPr>
            <p:nvPr>
              <p:custDataLst>
                <p:tags r:id="rId164"/>
              </p:custDataLst>
            </p:nvPr>
          </p:nvSpPr>
          <p:spPr bwMode="auto">
            <a:xfrm>
              <a:off x="3016251" y="4251326"/>
              <a:ext cx="3175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2" name="Line 200">
              <a:extLst>
                <a:ext uri="{FF2B5EF4-FFF2-40B4-BE49-F238E27FC236}">
                  <a16:creationId xmlns:a16="http://schemas.microsoft.com/office/drawing/2014/main" id="{081546F9-2C20-8781-DCB6-904562805952}"/>
                </a:ext>
              </a:extLst>
            </p:cNvPr>
            <p:cNvSpPr>
              <a:spLocks noChangeShapeType="1"/>
            </p:cNvSpPr>
            <p:nvPr>
              <p:custDataLst>
                <p:tags r:id="rId165"/>
              </p:custDataLst>
            </p:nvPr>
          </p:nvSpPr>
          <p:spPr bwMode="auto">
            <a:xfrm>
              <a:off x="3016251" y="4295776"/>
              <a:ext cx="17463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3" name="Freeform 201">
              <a:extLst>
                <a:ext uri="{FF2B5EF4-FFF2-40B4-BE49-F238E27FC236}">
                  <a16:creationId xmlns:a16="http://schemas.microsoft.com/office/drawing/2014/main" id="{ECFE2D55-7AE0-A289-AE20-31D6705DCE9A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2566988" y="3984626"/>
              <a:ext cx="17463" cy="44450"/>
            </a:xfrm>
            <a:custGeom>
              <a:avLst/>
              <a:gdLst>
                <a:gd name="T0" fmla="*/ 17463 w 8"/>
                <a:gd name="T1" fmla="*/ 0 h 24"/>
                <a:gd name="T2" fmla="*/ 0 w 8"/>
                <a:gd name="T3" fmla="*/ 14817 h 24"/>
                <a:gd name="T4" fmla="*/ 17463 w 8"/>
                <a:gd name="T5" fmla="*/ 44450 h 24"/>
                <a:gd name="T6" fmla="*/ 17463 w 8"/>
                <a:gd name="T7" fmla="*/ 14817 h 24"/>
                <a:gd name="T8" fmla="*/ 17463 w 8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4"/>
                <a:gd name="T17" fmla="*/ 8 w 8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4">
                  <a:moveTo>
                    <a:pt x="8" y="0"/>
                  </a:moveTo>
                  <a:lnTo>
                    <a:pt x="0" y="8"/>
                  </a:lnTo>
                  <a:lnTo>
                    <a:pt x="8" y="24"/>
                  </a:lnTo>
                  <a:lnTo>
                    <a:pt x="8" y="8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4" name="Freeform 202">
              <a:extLst>
                <a:ext uri="{FF2B5EF4-FFF2-40B4-BE49-F238E27FC236}">
                  <a16:creationId xmlns:a16="http://schemas.microsoft.com/office/drawing/2014/main" id="{04EFD79E-509F-130B-7957-085F4DD5AEBE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2687638" y="4087813"/>
              <a:ext cx="17463" cy="15875"/>
            </a:xfrm>
            <a:custGeom>
              <a:avLst/>
              <a:gdLst>
                <a:gd name="T0" fmla="*/ 0 w 8"/>
                <a:gd name="T1" fmla="*/ 15875 h 8"/>
                <a:gd name="T2" fmla="*/ 17463 w 8"/>
                <a:gd name="T3" fmla="*/ 15875 h 8"/>
                <a:gd name="T4" fmla="*/ 17463 w 8"/>
                <a:gd name="T5" fmla="*/ 0 h 8"/>
                <a:gd name="T6" fmla="*/ 0 w 8"/>
                <a:gd name="T7" fmla="*/ 15875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5" name="Line 203">
              <a:extLst>
                <a:ext uri="{FF2B5EF4-FFF2-40B4-BE49-F238E27FC236}">
                  <a16:creationId xmlns:a16="http://schemas.microsoft.com/office/drawing/2014/main" id="{80932534-F22A-B9A1-EDCD-8DDFBC4C05CE}"/>
                </a:ext>
              </a:extLst>
            </p:cNvPr>
            <p:cNvSpPr>
              <a:spLocks noChangeShapeType="1"/>
            </p:cNvSpPr>
            <p:nvPr>
              <p:custDataLst>
                <p:tags r:id="rId168"/>
              </p:custDataLst>
            </p:nvPr>
          </p:nvSpPr>
          <p:spPr bwMode="auto">
            <a:xfrm>
              <a:off x="2566988" y="3956051"/>
              <a:ext cx="34925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6" name="Freeform 204">
              <a:extLst>
                <a:ext uri="{FF2B5EF4-FFF2-40B4-BE49-F238E27FC236}">
                  <a16:creationId xmlns:a16="http://schemas.microsoft.com/office/drawing/2014/main" id="{51E850F1-BFC3-AF74-D369-9903FE4CB1E0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2601913" y="3956051"/>
              <a:ext cx="17463" cy="28575"/>
            </a:xfrm>
            <a:custGeom>
              <a:avLst/>
              <a:gdLst>
                <a:gd name="T0" fmla="*/ 0 w 8"/>
                <a:gd name="T1" fmla="*/ 0 h 16"/>
                <a:gd name="T2" fmla="*/ 17463 w 8"/>
                <a:gd name="T3" fmla="*/ 14288 h 16"/>
                <a:gd name="T4" fmla="*/ 17463 w 8"/>
                <a:gd name="T5" fmla="*/ 28575 h 16"/>
                <a:gd name="T6" fmla="*/ 0 60000 65536"/>
                <a:gd name="T7" fmla="*/ 0 60000 65536"/>
                <a:gd name="T8" fmla="*/ 0 60000 65536"/>
                <a:gd name="T9" fmla="*/ 0 w 8"/>
                <a:gd name="T10" fmla="*/ 0 h 16"/>
                <a:gd name="T11" fmla="*/ 8 w 8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6">
                  <a:moveTo>
                    <a:pt x="0" y="0"/>
                  </a:moveTo>
                  <a:lnTo>
                    <a:pt x="8" y="8"/>
                  </a:lnTo>
                  <a:lnTo>
                    <a:pt x="8" y="16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7" name="Freeform 205">
              <a:extLst>
                <a:ext uri="{FF2B5EF4-FFF2-40B4-BE49-F238E27FC236}">
                  <a16:creationId xmlns:a16="http://schemas.microsoft.com/office/drawing/2014/main" id="{DF68EEC5-621B-A44A-F588-B3FA8AD56B8C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2619376" y="4000501"/>
              <a:ext cx="17463" cy="14288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0 h 8"/>
                <a:gd name="T4" fmla="*/ 17463 w 8"/>
                <a:gd name="T5" fmla="*/ 14288 h 8"/>
                <a:gd name="T6" fmla="*/ 0 60000 65536"/>
                <a:gd name="T7" fmla="*/ 0 60000 65536"/>
                <a:gd name="T8" fmla="*/ 0 60000 65536"/>
                <a:gd name="T9" fmla="*/ 0 w 8"/>
                <a:gd name="T10" fmla="*/ 0 h 8"/>
                <a:gd name="T11" fmla="*/ 8 w 8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8">
                  <a:moveTo>
                    <a:pt x="0" y="0"/>
                  </a:moveTo>
                  <a:lnTo>
                    <a:pt x="8" y="0"/>
                  </a:lnTo>
                  <a:lnTo>
                    <a:pt x="8" y="8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8" name="Line 206">
              <a:extLst>
                <a:ext uri="{FF2B5EF4-FFF2-40B4-BE49-F238E27FC236}">
                  <a16:creationId xmlns:a16="http://schemas.microsoft.com/office/drawing/2014/main" id="{372D3F4B-E6F9-23DD-2454-B24376D97C7B}"/>
                </a:ext>
              </a:extLst>
            </p:cNvPr>
            <p:cNvSpPr>
              <a:spLocks noChangeShapeType="1"/>
            </p:cNvSpPr>
            <p:nvPr>
              <p:custDataLst>
                <p:tags r:id="rId171"/>
              </p:custDataLst>
            </p:nvPr>
          </p:nvSpPr>
          <p:spPr bwMode="auto">
            <a:xfrm>
              <a:off x="2654301" y="4014788"/>
              <a:ext cx="1588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9" name="Freeform 207">
              <a:extLst>
                <a:ext uri="{FF2B5EF4-FFF2-40B4-BE49-F238E27FC236}">
                  <a16:creationId xmlns:a16="http://schemas.microsoft.com/office/drawing/2014/main" id="{1C27ACB8-BC78-2C2C-6CDA-020B5DEE01EB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2654301" y="4044951"/>
              <a:ext cx="33338" cy="28575"/>
            </a:xfrm>
            <a:custGeom>
              <a:avLst/>
              <a:gdLst>
                <a:gd name="T0" fmla="*/ 0 w 16"/>
                <a:gd name="T1" fmla="*/ 0 h 16"/>
                <a:gd name="T2" fmla="*/ 16669 w 16"/>
                <a:gd name="T3" fmla="*/ 28575 h 16"/>
                <a:gd name="T4" fmla="*/ 33338 w 16"/>
                <a:gd name="T5" fmla="*/ 28575 h 16"/>
                <a:gd name="T6" fmla="*/ 0 60000 65536"/>
                <a:gd name="T7" fmla="*/ 0 60000 65536"/>
                <a:gd name="T8" fmla="*/ 0 60000 65536"/>
                <a:gd name="T9" fmla="*/ 0 w 16"/>
                <a:gd name="T10" fmla="*/ 0 h 16"/>
                <a:gd name="T11" fmla="*/ 16 w 16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" h="16">
                  <a:moveTo>
                    <a:pt x="0" y="0"/>
                  </a:moveTo>
                  <a:lnTo>
                    <a:pt x="8" y="16"/>
                  </a:lnTo>
                  <a:lnTo>
                    <a:pt x="16" y="16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0" name="Line 208">
              <a:extLst>
                <a:ext uri="{FF2B5EF4-FFF2-40B4-BE49-F238E27FC236}">
                  <a16:creationId xmlns:a16="http://schemas.microsoft.com/office/drawing/2014/main" id="{D76ED079-0D0E-8E1B-AFF2-2044D21C6795}"/>
                </a:ext>
              </a:extLst>
            </p:cNvPr>
            <p:cNvSpPr>
              <a:spLocks noChangeShapeType="1"/>
            </p:cNvSpPr>
            <p:nvPr>
              <p:custDataLst>
                <p:tags r:id="rId173"/>
              </p:custDataLst>
            </p:nvPr>
          </p:nvSpPr>
          <p:spPr bwMode="auto">
            <a:xfrm flipV="1">
              <a:off x="2670176" y="4073526"/>
              <a:ext cx="17463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1" name="Line 209">
              <a:extLst>
                <a:ext uri="{FF2B5EF4-FFF2-40B4-BE49-F238E27FC236}">
                  <a16:creationId xmlns:a16="http://schemas.microsoft.com/office/drawing/2014/main" id="{046B05C7-B710-D747-060E-46AE7E95B6B8}"/>
                </a:ext>
              </a:extLst>
            </p:cNvPr>
            <p:cNvSpPr>
              <a:spLocks noChangeShapeType="1"/>
            </p:cNvSpPr>
            <p:nvPr>
              <p:custDataLst>
                <p:tags r:id="rId174"/>
              </p:custDataLst>
            </p:nvPr>
          </p:nvSpPr>
          <p:spPr bwMode="auto">
            <a:xfrm>
              <a:off x="2705101" y="4073526"/>
              <a:ext cx="17463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2" name="Freeform 210">
              <a:extLst>
                <a:ext uri="{FF2B5EF4-FFF2-40B4-BE49-F238E27FC236}">
                  <a16:creationId xmlns:a16="http://schemas.microsoft.com/office/drawing/2014/main" id="{7EFDFFCC-2282-DAC0-DC52-683F0AE34DF3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2722563" y="4087813"/>
              <a:ext cx="34925" cy="15875"/>
            </a:xfrm>
            <a:custGeom>
              <a:avLst/>
              <a:gdLst>
                <a:gd name="T0" fmla="*/ 0 w 16"/>
                <a:gd name="T1" fmla="*/ 15875 h 8"/>
                <a:gd name="T2" fmla="*/ 17463 w 16"/>
                <a:gd name="T3" fmla="*/ 0 h 8"/>
                <a:gd name="T4" fmla="*/ 34925 w 16"/>
                <a:gd name="T5" fmla="*/ 15875 h 8"/>
                <a:gd name="T6" fmla="*/ 0 60000 65536"/>
                <a:gd name="T7" fmla="*/ 0 60000 65536"/>
                <a:gd name="T8" fmla="*/ 0 60000 65536"/>
                <a:gd name="T9" fmla="*/ 0 w 16"/>
                <a:gd name="T10" fmla="*/ 0 h 8"/>
                <a:gd name="T11" fmla="*/ 16 w 16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" h="8">
                  <a:moveTo>
                    <a:pt x="0" y="8"/>
                  </a:moveTo>
                  <a:lnTo>
                    <a:pt x="8" y="0"/>
                  </a:lnTo>
                  <a:lnTo>
                    <a:pt x="16" y="8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3" name="Line 211">
              <a:extLst>
                <a:ext uri="{FF2B5EF4-FFF2-40B4-BE49-F238E27FC236}">
                  <a16:creationId xmlns:a16="http://schemas.microsoft.com/office/drawing/2014/main" id="{2085C0C5-17A1-7F21-ADF8-215C2E96B2F6}"/>
                </a:ext>
              </a:extLst>
            </p:cNvPr>
            <p:cNvSpPr>
              <a:spLocks noChangeShapeType="1"/>
            </p:cNvSpPr>
            <p:nvPr>
              <p:custDataLst>
                <p:tags r:id="rId176"/>
              </p:custDataLst>
            </p:nvPr>
          </p:nvSpPr>
          <p:spPr bwMode="auto">
            <a:xfrm>
              <a:off x="2481263" y="4014788"/>
              <a:ext cx="17463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4" name="Freeform 212">
              <a:extLst>
                <a:ext uri="{FF2B5EF4-FFF2-40B4-BE49-F238E27FC236}">
                  <a16:creationId xmlns:a16="http://schemas.microsoft.com/office/drawing/2014/main" id="{BA76CA02-BB0F-AADB-C024-0A1D0455F0D2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2825751" y="3543301"/>
              <a:ext cx="69850" cy="14288"/>
            </a:xfrm>
            <a:custGeom>
              <a:avLst/>
              <a:gdLst>
                <a:gd name="T0" fmla="*/ 0 w 32"/>
                <a:gd name="T1" fmla="*/ 14288 h 8"/>
                <a:gd name="T2" fmla="*/ 69850 w 32"/>
                <a:gd name="T3" fmla="*/ 0 h 8"/>
                <a:gd name="T4" fmla="*/ 52387 w 32"/>
                <a:gd name="T5" fmla="*/ 0 h 8"/>
                <a:gd name="T6" fmla="*/ 0 w 32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"/>
                <a:gd name="T13" fmla="*/ 0 h 8"/>
                <a:gd name="T14" fmla="*/ 32 w 3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" h="8">
                  <a:moveTo>
                    <a:pt x="0" y="8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5" name="Freeform 213">
              <a:extLst>
                <a:ext uri="{FF2B5EF4-FFF2-40B4-BE49-F238E27FC236}">
                  <a16:creationId xmlns:a16="http://schemas.microsoft.com/office/drawing/2014/main" id="{FD343B2E-2A26-D30F-6648-FC9AEE370BA6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3189288" y="3306763"/>
              <a:ext cx="69850" cy="14288"/>
            </a:xfrm>
            <a:custGeom>
              <a:avLst/>
              <a:gdLst>
                <a:gd name="T0" fmla="*/ 0 w 32"/>
                <a:gd name="T1" fmla="*/ 0 h 8"/>
                <a:gd name="T2" fmla="*/ 34925 w 32"/>
                <a:gd name="T3" fmla="*/ 14288 h 8"/>
                <a:gd name="T4" fmla="*/ 69850 w 32"/>
                <a:gd name="T5" fmla="*/ 14288 h 8"/>
                <a:gd name="T6" fmla="*/ 34925 w 32"/>
                <a:gd name="T7" fmla="*/ 0 h 8"/>
                <a:gd name="T8" fmla="*/ 0 w 3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"/>
                <a:gd name="T16" fmla="*/ 0 h 8"/>
                <a:gd name="T17" fmla="*/ 32 w 3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" h="8">
                  <a:moveTo>
                    <a:pt x="0" y="0"/>
                  </a:moveTo>
                  <a:lnTo>
                    <a:pt x="16" y="8"/>
                  </a:lnTo>
                  <a:lnTo>
                    <a:pt x="32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6" name="Freeform 214">
              <a:extLst>
                <a:ext uri="{FF2B5EF4-FFF2-40B4-BE49-F238E27FC236}">
                  <a16:creationId xmlns:a16="http://schemas.microsoft.com/office/drawing/2014/main" id="{CADBEA1F-94BD-DF69-EE16-C8EA81E8A5D9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3154363" y="3379788"/>
              <a:ext cx="52388" cy="30163"/>
            </a:xfrm>
            <a:custGeom>
              <a:avLst/>
              <a:gdLst>
                <a:gd name="T0" fmla="*/ 0 w 24"/>
                <a:gd name="T1" fmla="*/ 15082 h 16"/>
                <a:gd name="T2" fmla="*/ 34925 w 24"/>
                <a:gd name="T3" fmla="*/ 30163 h 16"/>
                <a:gd name="T4" fmla="*/ 52388 w 24"/>
                <a:gd name="T5" fmla="*/ 15082 h 16"/>
                <a:gd name="T6" fmla="*/ 17463 w 24"/>
                <a:gd name="T7" fmla="*/ 15082 h 16"/>
                <a:gd name="T8" fmla="*/ 17463 w 24"/>
                <a:gd name="T9" fmla="*/ 0 h 16"/>
                <a:gd name="T10" fmla="*/ 0 w 24"/>
                <a:gd name="T11" fmla="*/ 15082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16"/>
                <a:gd name="T20" fmla="*/ 24 w 24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16">
                  <a:moveTo>
                    <a:pt x="0" y="8"/>
                  </a:moveTo>
                  <a:lnTo>
                    <a:pt x="16" y="16"/>
                  </a:lnTo>
                  <a:lnTo>
                    <a:pt x="24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7" name="Freeform 215">
              <a:extLst>
                <a:ext uri="{FF2B5EF4-FFF2-40B4-BE49-F238E27FC236}">
                  <a16:creationId xmlns:a16="http://schemas.microsoft.com/office/drawing/2014/main" id="{DA7016CC-9513-0816-8CD3-A04DC3D8F236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2947988" y="2967038"/>
              <a:ext cx="50800" cy="14288"/>
            </a:xfrm>
            <a:custGeom>
              <a:avLst/>
              <a:gdLst>
                <a:gd name="T0" fmla="*/ 0 w 24"/>
                <a:gd name="T1" fmla="*/ 14288 h 8"/>
                <a:gd name="T2" fmla="*/ 50800 w 24"/>
                <a:gd name="T3" fmla="*/ 0 h 8"/>
                <a:gd name="T4" fmla="*/ 16933 w 24"/>
                <a:gd name="T5" fmla="*/ 0 h 8"/>
                <a:gd name="T6" fmla="*/ 0 w 24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"/>
                <a:gd name="T13" fmla="*/ 0 h 8"/>
                <a:gd name="T14" fmla="*/ 24 w 2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" h="8">
                  <a:moveTo>
                    <a:pt x="0" y="8"/>
                  </a:moveTo>
                  <a:lnTo>
                    <a:pt x="24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8" name="Freeform 216">
              <a:extLst>
                <a:ext uri="{FF2B5EF4-FFF2-40B4-BE49-F238E27FC236}">
                  <a16:creationId xmlns:a16="http://schemas.microsoft.com/office/drawing/2014/main" id="{D2C8EC3D-44D3-7DDF-D431-6C2FE8A5E700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3016251" y="2981326"/>
              <a:ext cx="34925" cy="15875"/>
            </a:xfrm>
            <a:custGeom>
              <a:avLst/>
              <a:gdLst>
                <a:gd name="T0" fmla="*/ 17463 w 16"/>
                <a:gd name="T1" fmla="*/ 0 h 8"/>
                <a:gd name="T2" fmla="*/ 0 w 16"/>
                <a:gd name="T3" fmla="*/ 15875 h 8"/>
                <a:gd name="T4" fmla="*/ 34925 w 16"/>
                <a:gd name="T5" fmla="*/ 0 h 8"/>
                <a:gd name="T6" fmla="*/ 17463 w 16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8"/>
                <a:gd name="T14" fmla="*/ 16 w 16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8">
                  <a:moveTo>
                    <a:pt x="8" y="0"/>
                  </a:moveTo>
                  <a:lnTo>
                    <a:pt x="0" y="8"/>
                  </a:lnTo>
                  <a:lnTo>
                    <a:pt x="16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9" name="Freeform 217">
              <a:extLst>
                <a:ext uri="{FF2B5EF4-FFF2-40B4-BE49-F238E27FC236}">
                  <a16:creationId xmlns:a16="http://schemas.microsoft.com/office/drawing/2014/main" id="{6ECF65FD-04E6-DF9D-53AC-1005AEC3C004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3294063" y="3262313"/>
              <a:ext cx="171450" cy="133350"/>
            </a:xfrm>
            <a:custGeom>
              <a:avLst/>
              <a:gdLst>
                <a:gd name="T0" fmla="*/ 0 w 80"/>
                <a:gd name="T1" fmla="*/ 88900 h 72"/>
                <a:gd name="T2" fmla="*/ 0 w 80"/>
                <a:gd name="T3" fmla="*/ 103717 h 72"/>
                <a:gd name="T4" fmla="*/ 102870 w 80"/>
                <a:gd name="T5" fmla="*/ 103717 h 72"/>
                <a:gd name="T6" fmla="*/ 85725 w 80"/>
                <a:gd name="T7" fmla="*/ 118533 h 72"/>
                <a:gd name="T8" fmla="*/ 102870 w 80"/>
                <a:gd name="T9" fmla="*/ 118533 h 72"/>
                <a:gd name="T10" fmla="*/ 120015 w 80"/>
                <a:gd name="T11" fmla="*/ 103717 h 72"/>
                <a:gd name="T12" fmla="*/ 137160 w 80"/>
                <a:gd name="T13" fmla="*/ 103717 h 72"/>
                <a:gd name="T14" fmla="*/ 120015 w 80"/>
                <a:gd name="T15" fmla="*/ 118533 h 72"/>
                <a:gd name="T16" fmla="*/ 137160 w 80"/>
                <a:gd name="T17" fmla="*/ 118533 h 72"/>
                <a:gd name="T18" fmla="*/ 137160 w 80"/>
                <a:gd name="T19" fmla="*/ 133350 h 72"/>
                <a:gd name="T20" fmla="*/ 154305 w 80"/>
                <a:gd name="T21" fmla="*/ 133350 h 72"/>
                <a:gd name="T22" fmla="*/ 171450 w 80"/>
                <a:gd name="T23" fmla="*/ 103717 h 72"/>
                <a:gd name="T24" fmla="*/ 154305 w 80"/>
                <a:gd name="T25" fmla="*/ 103717 h 72"/>
                <a:gd name="T26" fmla="*/ 171450 w 80"/>
                <a:gd name="T27" fmla="*/ 88900 h 72"/>
                <a:gd name="T28" fmla="*/ 137160 w 80"/>
                <a:gd name="T29" fmla="*/ 103717 h 72"/>
                <a:gd name="T30" fmla="*/ 171450 w 80"/>
                <a:gd name="T31" fmla="*/ 74083 h 72"/>
                <a:gd name="T32" fmla="*/ 154305 w 80"/>
                <a:gd name="T33" fmla="*/ 74083 h 72"/>
                <a:gd name="T34" fmla="*/ 171450 w 80"/>
                <a:gd name="T35" fmla="*/ 59267 h 72"/>
                <a:gd name="T36" fmla="*/ 120015 w 80"/>
                <a:gd name="T37" fmla="*/ 59267 h 72"/>
                <a:gd name="T38" fmla="*/ 120015 w 80"/>
                <a:gd name="T39" fmla="*/ 44450 h 72"/>
                <a:gd name="T40" fmla="*/ 120015 w 80"/>
                <a:gd name="T41" fmla="*/ 29633 h 72"/>
                <a:gd name="T42" fmla="*/ 85725 w 80"/>
                <a:gd name="T43" fmla="*/ 44450 h 72"/>
                <a:gd name="T44" fmla="*/ 137160 w 80"/>
                <a:gd name="T45" fmla="*/ 0 h 72"/>
                <a:gd name="T46" fmla="*/ 120015 w 80"/>
                <a:gd name="T47" fmla="*/ 0 h 72"/>
                <a:gd name="T48" fmla="*/ 34290 w 80"/>
                <a:gd name="T49" fmla="*/ 74083 h 72"/>
                <a:gd name="T50" fmla="*/ 0 w 80"/>
                <a:gd name="T51" fmla="*/ 88900 h 7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0"/>
                <a:gd name="T79" fmla="*/ 0 h 72"/>
                <a:gd name="T80" fmla="*/ 80 w 80"/>
                <a:gd name="T81" fmla="*/ 72 h 7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0" h="72">
                  <a:moveTo>
                    <a:pt x="0" y="48"/>
                  </a:moveTo>
                  <a:lnTo>
                    <a:pt x="0" y="56"/>
                  </a:lnTo>
                  <a:lnTo>
                    <a:pt x="48" y="56"/>
                  </a:lnTo>
                  <a:lnTo>
                    <a:pt x="40" y="64"/>
                  </a:lnTo>
                  <a:lnTo>
                    <a:pt x="48" y="64"/>
                  </a:lnTo>
                  <a:lnTo>
                    <a:pt x="56" y="56"/>
                  </a:lnTo>
                  <a:lnTo>
                    <a:pt x="64" y="56"/>
                  </a:lnTo>
                  <a:lnTo>
                    <a:pt x="56" y="64"/>
                  </a:lnTo>
                  <a:lnTo>
                    <a:pt x="64" y="64"/>
                  </a:lnTo>
                  <a:lnTo>
                    <a:pt x="64" y="72"/>
                  </a:lnTo>
                  <a:lnTo>
                    <a:pt x="72" y="72"/>
                  </a:lnTo>
                  <a:lnTo>
                    <a:pt x="80" y="56"/>
                  </a:lnTo>
                  <a:lnTo>
                    <a:pt x="72" y="56"/>
                  </a:lnTo>
                  <a:lnTo>
                    <a:pt x="80" y="48"/>
                  </a:lnTo>
                  <a:lnTo>
                    <a:pt x="64" y="56"/>
                  </a:lnTo>
                  <a:lnTo>
                    <a:pt x="80" y="40"/>
                  </a:lnTo>
                  <a:lnTo>
                    <a:pt x="72" y="40"/>
                  </a:lnTo>
                  <a:lnTo>
                    <a:pt x="80" y="32"/>
                  </a:lnTo>
                  <a:lnTo>
                    <a:pt x="56" y="32"/>
                  </a:lnTo>
                  <a:lnTo>
                    <a:pt x="56" y="24"/>
                  </a:lnTo>
                  <a:lnTo>
                    <a:pt x="56" y="16"/>
                  </a:lnTo>
                  <a:lnTo>
                    <a:pt x="40" y="24"/>
                  </a:lnTo>
                  <a:lnTo>
                    <a:pt x="64" y="0"/>
                  </a:lnTo>
                  <a:lnTo>
                    <a:pt x="56" y="0"/>
                  </a:lnTo>
                  <a:lnTo>
                    <a:pt x="16" y="40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0" name="Freeform 218">
              <a:extLst>
                <a:ext uri="{FF2B5EF4-FFF2-40B4-BE49-F238E27FC236}">
                  <a16:creationId xmlns:a16="http://schemas.microsoft.com/office/drawing/2014/main" id="{DEDF7FD8-FEA9-ED99-D889-9891B0C960EA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2895601" y="2878138"/>
              <a:ext cx="173038" cy="74613"/>
            </a:xfrm>
            <a:custGeom>
              <a:avLst/>
              <a:gdLst>
                <a:gd name="T0" fmla="*/ 0 w 80"/>
                <a:gd name="T1" fmla="*/ 59690 h 40"/>
                <a:gd name="T2" fmla="*/ 34608 w 80"/>
                <a:gd name="T3" fmla="*/ 59690 h 40"/>
                <a:gd name="T4" fmla="*/ 34608 w 80"/>
                <a:gd name="T5" fmla="*/ 74613 h 40"/>
                <a:gd name="T6" fmla="*/ 86519 w 80"/>
                <a:gd name="T7" fmla="*/ 59690 h 40"/>
                <a:gd name="T8" fmla="*/ 103823 w 80"/>
                <a:gd name="T9" fmla="*/ 59690 h 40"/>
                <a:gd name="T10" fmla="*/ 138430 w 80"/>
                <a:gd name="T11" fmla="*/ 74613 h 40"/>
                <a:gd name="T12" fmla="*/ 173038 w 80"/>
                <a:gd name="T13" fmla="*/ 59690 h 40"/>
                <a:gd name="T14" fmla="*/ 103823 w 80"/>
                <a:gd name="T15" fmla="*/ 14923 h 40"/>
                <a:gd name="T16" fmla="*/ 103823 w 80"/>
                <a:gd name="T17" fmla="*/ 0 h 40"/>
                <a:gd name="T18" fmla="*/ 69215 w 80"/>
                <a:gd name="T19" fmla="*/ 29845 h 40"/>
                <a:gd name="T20" fmla="*/ 34608 w 80"/>
                <a:gd name="T21" fmla="*/ 59690 h 40"/>
                <a:gd name="T22" fmla="*/ 0 w 80"/>
                <a:gd name="T23" fmla="*/ 59690 h 4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0"/>
                <a:gd name="T37" fmla="*/ 0 h 40"/>
                <a:gd name="T38" fmla="*/ 80 w 80"/>
                <a:gd name="T39" fmla="*/ 40 h 4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0" h="40">
                  <a:moveTo>
                    <a:pt x="0" y="32"/>
                  </a:moveTo>
                  <a:lnTo>
                    <a:pt x="16" y="32"/>
                  </a:lnTo>
                  <a:lnTo>
                    <a:pt x="16" y="40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64" y="40"/>
                  </a:lnTo>
                  <a:lnTo>
                    <a:pt x="80" y="32"/>
                  </a:lnTo>
                  <a:lnTo>
                    <a:pt x="48" y="8"/>
                  </a:lnTo>
                  <a:lnTo>
                    <a:pt x="48" y="0"/>
                  </a:lnTo>
                  <a:lnTo>
                    <a:pt x="32" y="16"/>
                  </a:lnTo>
                  <a:lnTo>
                    <a:pt x="16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1" name="Freeform 219">
              <a:extLst>
                <a:ext uri="{FF2B5EF4-FFF2-40B4-BE49-F238E27FC236}">
                  <a16:creationId xmlns:a16="http://schemas.microsoft.com/office/drawing/2014/main" id="{C315FEF0-B7DF-D294-84FC-97B0CA1B3238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3206751" y="2833688"/>
              <a:ext cx="52388" cy="30163"/>
            </a:xfrm>
            <a:custGeom>
              <a:avLst/>
              <a:gdLst>
                <a:gd name="T0" fmla="*/ 0 w 24"/>
                <a:gd name="T1" fmla="*/ 15082 h 16"/>
                <a:gd name="T2" fmla="*/ 0 w 24"/>
                <a:gd name="T3" fmla="*/ 30163 h 16"/>
                <a:gd name="T4" fmla="*/ 17463 w 24"/>
                <a:gd name="T5" fmla="*/ 30163 h 16"/>
                <a:gd name="T6" fmla="*/ 52388 w 24"/>
                <a:gd name="T7" fmla="*/ 0 h 16"/>
                <a:gd name="T8" fmla="*/ 34925 w 24"/>
                <a:gd name="T9" fmla="*/ 0 h 16"/>
                <a:gd name="T10" fmla="*/ 0 w 24"/>
                <a:gd name="T11" fmla="*/ 15082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16"/>
                <a:gd name="T20" fmla="*/ 24 w 24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16">
                  <a:moveTo>
                    <a:pt x="0" y="8"/>
                  </a:moveTo>
                  <a:lnTo>
                    <a:pt x="0" y="16"/>
                  </a:lnTo>
                  <a:lnTo>
                    <a:pt x="8" y="16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2" name="Freeform 220">
              <a:extLst>
                <a:ext uri="{FF2B5EF4-FFF2-40B4-BE49-F238E27FC236}">
                  <a16:creationId xmlns:a16="http://schemas.microsoft.com/office/drawing/2014/main" id="{DD2135CB-2D84-544B-47A5-D504E9839F5B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3033713" y="2701926"/>
              <a:ext cx="484188" cy="279400"/>
            </a:xfrm>
            <a:custGeom>
              <a:avLst/>
              <a:gdLst>
                <a:gd name="T0" fmla="*/ 0 w 224"/>
                <a:gd name="T1" fmla="*/ 44116 h 152"/>
                <a:gd name="T2" fmla="*/ 17292 w 224"/>
                <a:gd name="T3" fmla="*/ 73526 h 152"/>
                <a:gd name="T4" fmla="*/ 51877 w 224"/>
                <a:gd name="T5" fmla="*/ 88232 h 152"/>
                <a:gd name="T6" fmla="*/ 138339 w 224"/>
                <a:gd name="T7" fmla="*/ 88232 h 152"/>
                <a:gd name="T8" fmla="*/ 155632 w 224"/>
                <a:gd name="T9" fmla="*/ 102937 h 152"/>
                <a:gd name="T10" fmla="*/ 207509 w 224"/>
                <a:gd name="T11" fmla="*/ 88232 h 152"/>
                <a:gd name="T12" fmla="*/ 242094 w 224"/>
                <a:gd name="T13" fmla="*/ 102937 h 152"/>
                <a:gd name="T14" fmla="*/ 207509 w 224"/>
                <a:gd name="T15" fmla="*/ 117642 h 152"/>
                <a:gd name="T16" fmla="*/ 242094 w 224"/>
                <a:gd name="T17" fmla="*/ 117642 h 152"/>
                <a:gd name="T18" fmla="*/ 259386 w 224"/>
                <a:gd name="T19" fmla="*/ 117642 h 152"/>
                <a:gd name="T20" fmla="*/ 276679 w 224"/>
                <a:gd name="T21" fmla="*/ 132347 h 152"/>
                <a:gd name="T22" fmla="*/ 276679 w 224"/>
                <a:gd name="T23" fmla="*/ 161758 h 152"/>
                <a:gd name="T24" fmla="*/ 190217 w 224"/>
                <a:gd name="T25" fmla="*/ 176463 h 152"/>
                <a:gd name="T26" fmla="*/ 207509 w 224"/>
                <a:gd name="T27" fmla="*/ 191168 h 152"/>
                <a:gd name="T28" fmla="*/ 172924 w 224"/>
                <a:gd name="T29" fmla="*/ 205874 h 152"/>
                <a:gd name="T30" fmla="*/ 121047 w 224"/>
                <a:gd name="T31" fmla="*/ 191168 h 152"/>
                <a:gd name="T32" fmla="*/ 86462 w 224"/>
                <a:gd name="T33" fmla="*/ 220579 h 152"/>
                <a:gd name="T34" fmla="*/ 138339 w 224"/>
                <a:gd name="T35" fmla="*/ 220579 h 152"/>
                <a:gd name="T36" fmla="*/ 190217 w 224"/>
                <a:gd name="T37" fmla="*/ 235284 h 152"/>
                <a:gd name="T38" fmla="*/ 207509 w 224"/>
                <a:gd name="T39" fmla="*/ 235284 h 152"/>
                <a:gd name="T40" fmla="*/ 207509 w 224"/>
                <a:gd name="T41" fmla="*/ 249989 h 152"/>
                <a:gd name="T42" fmla="*/ 207509 w 224"/>
                <a:gd name="T43" fmla="*/ 264695 h 152"/>
                <a:gd name="T44" fmla="*/ 259386 w 224"/>
                <a:gd name="T45" fmla="*/ 279400 h 152"/>
                <a:gd name="T46" fmla="*/ 311264 w 224"/>
                <a:gd name="T47" fmla="*/ 279400 h 152"/>
                <a:gd name="T48" fmla="*/ 276679 w 224"/>
                <a:gd name="T49" fmla="*/ 249989 h 152"/>
                <a:gd name="T50" fmla="*/ 276679 w 224"/>
                <a:gd name="T51" fmla="*/ 235284 h 152"/>
                <a:gd name="T52" fmla="*/ 328556 w 224"/>
                <a:gd name="T53" fmla="*/ 264695 h 152"/>
                <a:gd name="T54" fmla="*/ 363141 w 224"/>
                <a:gd name="T55" fmla="*/ 264695 h 152"/>
                <a:gd name="T56" fmla="*/ 380433 w 224"/>
                <a:gd name="T57" fmla="*/ 249989 h 152"/>
                <a:gd name="T58" fmla="*/ 363141 w 224"/>
                <a:gd name="T59" fmla="*/ 235284 h 152"/>
                <a:gd name="T60" fmla="*/ 380433 w 224"/>
                <a:gd name="T61" fmla="*/ 220579 h 152"/>
                <a:gd name="T62" fmla="*/ 345849 w 224"/>
                <a:gd name="T63" fmla="*/ 191168 h 152"/>
                <a:gd name="T64" fmla="*/ 363141 w 224"/>
                <a:gd name="T65" fmla="*/ 176463 h 152"/>
                <a:gd name="T66" fmla="*/ 397726 w 224"/>
                <a:gd name="T67" fmla="*/ 191168 h 152"/>
                <a:gd name="T68" fmla="*/ 397726 w 224"/>
                <a:gd name="T69" fmla="*/ 205874 h 152"/>
                <a:gd name="T70" fmla="*/ 415018 w 224"/>
                <a:gd name="T71" fmla="*/ 205874 h 152"/>
                <a:gd name="T72" fmla="*/ 484188 w 224"/>
                <a:gd name="T73" fmla="*/ 161758 h 152"/>
                <a:gd name="T74" fmla="*/ 432311 w 224"/>
                <a:gd name="T75" fmla="*/ 132347 h 152"/>
                <a:gd name="T76" fmla="*/ 397726 w 224"/>
                <a:gd name="T77" fmla="*/ 132347 h 152"/>
                <a:gd name="T78" fmla="*/ 380433 w 224"/>
                <a:gd name="T79" fmla="*/ 117642 h 152"/>
                <a:gd name="T80" fmla="*/ 397726 w 224"/>
                <a:gd name="T81" fmla="*/ 117642 h 152"/>
                <a:gd name="T82" fmla="*/ 432311 w 224"/>
                <a:gd name="T83" fmla="*/ 102937 h 152"/>
                <a:gd name="T84" fmla="*/ 415018 w 224"/>
                <a:gd name="T85" fmla="*/ 102937 h 152"/>
                <a:gd name="T86" fmla="*/ 432311 w 224"/>
                <a:gd name="T87" fmla="*/ 88232 h 152"/>
                <a:gd name="T88" fmla="*/ 380433 w 224"/>
                <a:gd name="T89" fmla="*/ 58821 h 152"/>
                <a:gd name="T90" fmla="*/ 328556 w 224"/>
                <a:gd name="T91" fmla="*/ 44116 h 152"/>
                <a:gd name="T92" fmla="*/ 345849 w 224"/>
                <a:gd name="T93" fmla="*/ 29411 h 152"/>
                <a:gd name="T94" fmla="*/ 276679 w 224"/>
                <a:gd name="T95" fmla="*/ 29411 h 152"/>
                <a:gd name="T96" fmla="*/ 190217 w 224"/>
                <a:gd name="T97" fmla="*/ 44116 h 152"/>
                <a:gd name="T98" fmla="*/ 224802 w 224"/>
                <a:gd name="T99" fmla="*/ 14705 h 152"/>
                <a:gd name="T100" fmla="*/ 190217 w 224"/>
                <a:gd name="T101" fmla="*/ 0 h 152"/>
                <a:gd name="T102" fmla="*/ 121047 w 224"/>
                <a:gd name="T103" fmla="*/ 14705 h 152"/>
                <a:gd name="T104" fmla="*/ 86462 w 224"/>
                <a:gd name="T105" fmla="*/ 44116 h 152"/>
                <a:gd name="T106" fmla="*/ 103755 w 224"/>
                <a:gd name="T107" fmla="*/ 29411 h 152"/>
                <a:gd name="T108" fmla="*/ 172924 w 224"/>
                <a:gd name="T109" fmla="*/ 0 h 152"/>
                <a:gd name="T110" fmla="*/ 121047 w 224"/>
                <a:gd name="T111" fmla="*/ 0 h 152"/>
                <a:gd name="T112" fmla="*/ 51877 w 224"/>
                <a:gd name="T113" fmla="*/ 14705 h 152"/>
                <a:gd name="T114" fmla="*/ 0 w 224"/>
                <a:gd name="T115" fmla="*/ 44116 h 15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24"/>
                <a:gd name="T175" fmla="*/ 0 h 152"/>
                <a:gd name="T176" fmla="*/ 224 w 224"/>
                <a:gd name="T177" fmla="*/ 152 h 15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24" h="152">
                  <a:moveTo>
                    <a:pt x="0" y="24"/>
                  </a:moveTo>
                  <a:lnTo>
                    <a:pt x="8" y="40"/>
                  </a:lnTo>
                  <a:lnTo>
                    <a:pt x="24" y="48"/>
                  </a:lnTo>
                  <a:lnTo>
                    <a:pt x="64" y="48"/>
                  </a:lnTo>
                  <a:lnTo>
                    <a:pt x="72" y="56"/>
                  </a:lnTo>
                  <a:lnTo>
                    <a:pt x="96" y="48"/>
                  </a:lnTo>
                  <a:lnTo>
                    <a:pt x="112" y="56"/>
                  </a:lnTo>
                  <a:lnTo>
                    <a:pt x="96" y="64"/>
                  </a:lnTo>
                  <a:lnTo>
                    <a:pt x="112" y="64"/>
                  </a:lnTo>
                  <a:lnTo>
                    <a:pt x="120" y="64"/>
                  </a:lnTo>
                  <a:lnTo>
                    <a:pt x="128" y="72"/>
                  </a:lnTo>
                  <a:lnTo>
                    <a:pt x="128" y="88"/>
                  </a:lnTo>
                  <a:lnTo>
                    <a:pt x="88" y="96"/>
                  </a:lnTo>
                  <a:lnTo>
                    <a:pt x="96" y="104"/>
                  </a:lnTo>
                  <a:lnTo>
                    <a:pt x="80" y="112"/>
                  </a:lnTo>
                  <a:lnTo>
                    <a:pt x="56" y="104"/>
                  </a:lnTo>
                  <a:lnTo>
                    <a:pt x="40" y="120"/>
                  </a:lnTo>
                  <a:lnTo>
                    <a:pt x="64" y="120"/>
                  </a:lnTo>
                  <a:lnTo>
                    <a:pt x="88" y="128"/>
                  </a:lnTo>
                  <a:lnTo>
                    <a:pt x="96" y="128"/>
                  </a:lnTo>
                  <a:lnTo>
                    <a:pt x="96" y="136"/>
                  </a:lnTo>
                  <a:lnTo>
                    <a:pt x="96" y="144"/>
                  </a:lnTo>
                  <a:lnTo>
                    <a:pt x="120" y="152"/>
                  </a:lnTo>
                  <a:lnTo>
                    <a:pt x="144" y="152"/>
                  </a:lnTo>
                  <a:lnTo>
                    <a:pt x="128" y="136"/>
                  </a:lnTo>
                  <a:lnTo>
                    <a:pt x="128" y="128"/>
                  </a:lnTo>
                  <a:lnTo>
                    <a:pt x="152" y="144"/>
                  </a:lnTo>
                  <a:lnTo>
                    <a:pt x="168" y="144"/>
                  </a:lnTo>
                  <a:lnTo>
                    <a:pt x="176" y="136"/>
                  </a:lnTo>
                  <a:lnTo>
                    <a:pt x="168" y="128"/>
                  </a:lnTo>
                  <a:lnTo>
                    <a:pt x="176" y="120"/>
                  </a:lnTo>
                  <a:lnTo>
                    <a:pt x="160" y="104"/>
                  </a:lnTo>
                  <a:lnTo>
                    <a:pt x="168" y="96"/>
                  </a:lnTo>
                  <a:lnTo>
                    <a:pt x="184" y="104"/>
                  </a:lnTo>
                  <a:lnTo>
                    <a:pt x="184" y="112"/>
                  </a:lnTo>
                  <a:lnTo>
                    <a:pt x="192" y="112"/>
                  </a:lnTo>
                  <a:lnTo>
                    <a:pt x="224" y="88"/>
                  </a:lnTo>
                  <a:lnTo>
                    <a:pt x="200" y="72"/>
                  </a:lnTo>
                  <a:lnTo>
                    <a:pt x="184" y="72"/>
                  </a:lnTo>
                  <a:lnTo>
                    <a:pt x="176" y="64"/>
                  </a:lnTo>
                  <a:lnTo>
                    <a:pt x="184" y="64"/>
                  </a:lnTo>
                  <a:lnTo>
                    <a:pt x="200" y="56"/>
                  </a:lnTo>
                  <a:lnTo>
                    <a:pt x="192" y="56"/>
                  </a:lnTo>
                  <a:lnTo>
                    <a:pt x="200" y="48"/>
                  </a:lnTo>
                  <a:lnTo>
                    <a:pt x="176" y="32"/>
                  </a:lnTo>
                  <a:lnTo>
                    <a:pt x="152" y="24"/>
                  </a:lnTo>
                  <a:lnTo>
                    <a:pt x="160" y="16"/>
                  </a:lnTo>
                  <a:lnTo>
                    <a:pt x="128" y="16"/>
                  </a:lnTo>
                  <a:lnTo>
                    <a:pt x="88" y="24"/>
                  </a:lnTo>
                  <a:lnTo>
                    <a:pt x="104" y="8"/>
                  </a:lnTo>
                  <a:lnTo>
                    <a:pt x="88" y="0"/>
                  </a:lnTo>
                  <a:lnTo>
                    <a:pt x="56" y="8"/>
                  </a:lnTo>
                  <a:lnTo>
                    <a:pt x="40" y="24"/>
                  </a:lnTo>
                  <a:lnTo>
                    <a:pt x="48" y="16"/>
                  </a:lnTo>
                  <a:lnTo>
                    <a:pt x="80" y="0"/>
                  </a:lnTo>
                  <a:lnTo>
                    <a:pt x="56" y="0"/>
                  </a:lnTo>
                  <a:lnTo>
                    <a:pt x="24" y="8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3" name="Freeform 221">
              <a:extLst>
                <a:ext uri="{FF2B5EF4-FFF2-40B4-BE49-F238E27FC236}">
                  <a16:creationId xmlns:a16="http://schemas.microsoft.com/office/drawing/2014/main" id="{DEC11A6F-BDD4-2E52-BAF7-CAD189ABD42B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3259138" y="2701926"/>
              <a:ext cx="85725" cy="28575"/>
            </a:xfrm>
            <a:custGeom>
              <a:avLst/>
              <a:gdLst>
                <a:gd name="T0" fmla="*/ 17145 w 40"/>
                <a:gd name="T1" fmla="*/ 0 h 16"/>
                <a:gd name="T2" fmla="*/ 0 w 40"/>
                <a:gd name="T3" fmla="*/ 14288 h 16"/>
                <a:gd name="T4" fmla="*/ 17145 w 40"/>
                <a:gd name="T5" fmla="*/ 28575 h 16"/>
                <a:gd name="T6" fmla="*/ 68580 w 40"/>
                <a:gd name="T7" fmla="*/ 28575 h 16"/>
                <a:gd name="T8" fmla="*/ 85725 w 40"/>
                <a:gd name="T9" fmla="*/ 14288 h 16"/>
                <a:gd name="T10" fmla="*/ 17145 w 40"/>
                <a:gd name="T11" fmla="*/ 0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6"/>
                <a:gd name="T20" fmla="*/ 40 w 40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6">
                  <a:moveTo>
                    <a:pt x="8" y="0"/>
                  </a:moveTo>
                  <a:lnTo>
                    <a:pt x="0" y="8"/>
                  </a:lnTo>
                  <a:lnTo>
                    <a:pt x="8" y="16"/>
                  </a:lnTo>
                  <a:lnTo>
                    <a:pt x="32" y="16"/>
                  </a:lnTo>
                  <a:lnTo>
                    <a:pt x="40" y="8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4" name="Freeform 222">
              <a:extLst>
                <a:ext uri="{FF2B5EF4-FFF2-40B4-BE49-F238E27FC236}">
                  <a16:creationId xmlns:a16="http://schemas.microsoft.com/office/drawing/2014/main" id="{31E6A88D-B76E-8B9F-5586-6F3089001A42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2998788" y="2671763"/>
              <a:ext cx="52388" cy="15875"/>
            </a:xfrm>
            <a:custGeom>
              <a:avLst/>
              <a:gdLst>
                <a:gd name="T0" fmla="*/ 0 w 24"/>
                <a:gd name="T1" fmla="*/ 0 h 8"/>
                <a:gd name="T2" fmla="*/ 34925 w 24"/>
                <a:gd name="T3" fmla="*/ 15875 h 8"/>
                <a:gd name="T4" fmla="*/ 52388 w 24"/>
                <a:gd name="T5" fmla="*/ 0 h 8"/>
                <a:gd name="T6" fmla="*/ 34925 w 24"/>
                <a:gd name="T7" fmla="*/ 0 h 8"/>
                <a:gd name="T8" fmla="*/ 0 w 2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8"/>
                <a:gd name="T17" fmla="*/ 24 w 2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8">
                  <a:moveTo>
                    <a:pt x="0" y="0"/>
                  </a:moveTo>
                  <a:lnTo>
                    <a:pt x="16" y="8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5" name="Freeform 223">
              <a:extLst>
                <a:ext uri="{FF2B5EF4-FFF2-40B4-BE49-F238E27FC236}">
                  <a16:creationId xmlns:a16="http://schemas.microsoft.com/office/drawing/2014/main" id="{70285C1E-BE38-7599-7397-114AD0F6D106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3051176" y="2643188"/>
              <a:ext cx="276225" cy="44450"/>
            </a:xfrm>
            <a:custGeom>
              <a:avLst/>
              <a:gdLst>
                <a:gd name="T0" fmla="*/ 17264 w 128"/>
                <a:gd name="T1" fmla="*/ 0 h 24"/>
                <a:gd name="T2" fmla="*/ 0 w 128"/>
                <a:gd name="T3" fmla="*/ 0 h 24"/>
                <a:gd name="T4" fmla="*/ 17264 w 128"/>
                <a:gd name="T5" fmla="*/ 14817 h 24"/>
                <a:gd name="T6" fmla="*/ 69056 w 128"/>
                <a:gd name="T7" fmla="*/ 14817 h 24"/>
                <a:gd name="T8" fmla="*/ 34528 w 128"/>
                <a:gd name="T9" fmla="*/ 44450 h 24"/>
                <a:gd name="T10" fmla="*/ 51792 w 128"/>
                <a:gd name="T11" fmla="*/ 44450 h 24"/>
                <a:gd name="T12" fmla="*/ 155377 w 128"/>
                <a:gd name="T13" fmla="*/ 44450 h 24"/>
                <a:gd name="T14" fmla="*/ 189905 w 128"/>
                <a:gd name="T15" fmla="*/ 44450 h 24"/>
                <a:gd name="T16" fmla="*/ 207169 w 128"/>
                <a:gd name="T17" fmla="*/ 44450 h 24"/>
                <a:gd name="T18" fmla="*/ 241697 w 128"/>
                <a:gd name="T19" fmla="*/ 44450 h 24"/>
                <a:gd name="T20" fmla="*/ 276225 w 128"/>
                <a:gd name="T21" fmla="*/ 29633 h 24"/>
                <a:gd name="T22" fmla="*/ 120848 w 128"/>
                <a:gd name="T23" fmla="*/ 14817 h 24"/>
                <a:gd name="T24" fmla="*/ 103584 w 128"/>
                <a:gd name="T25" fmla="*/ 14817 h 24"/>
                <a:gd name="T26" fmla="*/ 103584 w 128"/>
                <a:gd name="T27" fmla="*/ 0 h 24"/>
                <a:gd name="T28" fmla="*/ 17264 w 128"/>
                <a:gd name="T29" fmla="*/ 0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8"/>
                <a:gd name="T46" fmla="*/ 0 h 24"/>
                <a:gd name="T47" fmla="*/ 128 w 1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8" h="24">
                  <a:moveTo>
                    <a:pt x="8" y="0"/>
                  </a:moveTo>
                  <a:lnTo>
                    <a:pt x="0" y="0"/>
                  </a:lnTo>
                  <a:lnTo>
                    <a:pt x="8" y="8"/>
                  </a:lnTo>
                  <a:lnTo>
                    <a:pt x="32" y="8"/>
                  </a:lnTo>
                  <a:lnTo>
                    <a:pt x="16" y="24"/>
                  </a:lnTo>
                  <a:lnTo>
                    <a:pt x="24" y="24"/>
                  </a:lnTo>
                  <a:lnTo>
                    <a:pt x="72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12" y="24"/>
                  </a:lnTo>
                  <a:lnTo>
                    <a:pt x="128" y="16"/>
                  </a:lnTo>
                  <a:lnTo>
                    <a:pt x="56" y="8"/>
                  </a:lnTo>
                  <a:lnTo>
                    <a:pt x="48" y="8"/>
                  </a:lnTo>
                  <a:lnTo>
                    <a:pt x="4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6" name="Freeform 224">
              <a:extLst>
                <a:ext uri="{FF2B5EF4-FFF2-40B4-BE49-F238E27FC236}">
                  <a16:creationId xmlns:a16="http://schemas.microsoft.com/office/drawing/2014/main" id="{00888EC1-1551-664A-FD16-C15BE59A35A0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3171826" y="2554288"/>
              <a:ext cx="173038" cy="58738"/>
            </a:xfrm>
            <a:custGeom>
              <a:avLst/>
              <a:gdLst>
                <a:gd name="T0" fmla="*/ 17304 w 80"/>
                <a:gd name="T1" fmla="*/ 14685 h 32"/>
                <a:gd name="T2" fmla="*/ 17304 w 80"/>
                <a:gd name="T3" fmla="*/ 29369 h 32"/>
                <a:gd name="T4" fmla="*/ 0 w 80"/>
                <a:gd name="T5" fmla="*/ 44053 h 32"/>
                <a:gd name="T6" fmla="*/ 0 w 80"/>
                <a:gd name="T7" fmla="*/ 58738 h 32"/>
                <a:gd name="T8" fmla="*/ 51911 w 80"/>
                <a:gd name="T9" fmla="*/ 58738 h 32"/>
                <a:gd name="T10" fmla="*/ 173038 w 80"/>
                <a:gd name="T11" fmla="*/ 29369 h 32"/>
                <a:gd name="T12" fmla="*/ 138430 w 80"/>
                <a:gd name="T13" fmla="*/ 29369 h 32"/>
                <a:gd name="T14" fmla="*/ 155734 w 80"/>
                <a:gd name="T15" fmla="*/ 14685 h 32"/>
                <a:gd name="T16" fmla="*/ 121127 w 80"/>
                <a:gd name="T17" fmla="*/ 14685 h 32"/>
                <a:gd name="T18" fmla="*/ 103823 w 80"/>
                <a:gd name="T19" fmla="*/ 0 h 32"/>
                <a:gd name="T20" fmla="*/ 69215 w 80"/>
                <a:gd name="T21" fmla="*/ 0 h 32"/>
                <a:gd name="T22" fmla="*/ 17304 w 80"/>
                <a:gd name="T23" fmla="*/ 14685 h 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0"/>
                <a:gd name="T37" fmla="*/ 0 h 32"/>
                <a:gd name="T38" fmla="*/ 80 w 80"/>
                <a:gd name="T39" fmla="*/ 32 h 3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0" h="32">
                  <a:moveTo>
                    <a:pt x="8" y="8"/>
                  </a:moveTo>
                  <a:lnTo>
                    <a:pt x="8" y="16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24" y="32"/>
                  </a:lnTo>
                  <a:lnTo>
                    <a:pt x="80" y="16"/>
                  </a:lnTo>
                  <a:lnTo>
                    <a:pt x="64" y="16"/>
                  </a:lnTo>
                  <a:lnTo>
                    <a:pt x="72" y="8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32" y="0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7" name="Freeform 225">
              <a:extLst>
                <a:ext uri="{FF2B5EF4-FFF2-40B4-BE49-F238E27FC236}">
                  <a16:creationId xmlns:a16="http://schemas.microsoft.com/office/drawing/2014/main" id="{FC3FE6C6-D8F2-4CF7-496B-D5DB1D2D9566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171826" y="2524126"/>
              <a:ext cx="674688" cy="133350"/>
            </a:xfrm>
            <a:custGeom>
              <a:avLst/>
              <a:gdLst>
                <a:gd name="T0" fmla="*/ 138398 w 312"/>
                <a:gd name="T1" fmla="*/ 29633 h 72"/>
                <a:gd name="T2" fmla="*/ 155697 w 312"/>
                <a:gd name="T3" fmla="*/ 44450 h 72"/>
                <a:gd name="T4" fmla="*/ 190297 w 312"/>
                <a:gd name="T5" fmla="*/ 44450 h 72"/>
                <a:gd name="T6" fmla="*/ 155697 w 312"/>
                <a:gd name="T7" fmla="*/ 59267 h 72"/>
                <a:gd name="T8" fmla="*/ 172997 w 312"/>
                <a:gd name="T9" fmla="*/ 59267 h 72"/>
                <a:gd name="T10" fmla="*/ 172997 w 312"/>
                <a:gd name="T11" fmla="*/ 74083 h 72"/>
                <a:gd name="T12" fmla="*/ 86498 w 312"/>
                <a:gd name="T13" fmla="*/ 88900 h 72"/>
                <a:gd name="T14" fmla="*/ 121098 w 312"/>
                <a:gd name="T15" fmla="*/ 88900 h 72"/>
                <a:gd name="T16" fmla="*/ 69199 w 312"/>
                <a:gd name="T17" fmla="*/ 88900 h 72"/>
                <a:gd name="T18" fmla="*/ 51899 w 312"/>
                <a:gd name="T19" fmla="*/ 103717 h 72"/>
                <a:gd name="T20" fmla="*/ 69199 w 312"/>
                <a:gd name="T21" fmla="*/ 103717 h 72"/>
                <a:gd name="T22" fmla="*/ 17300 w 312"/>
                <a:gd name="T23" fmla="*/ 118533 h 72"/>
                <a:gd name="T24" fmla="*/ 0 w 312"/>
                <a:gd name="T25" fmla="*/ 118533 h 72"/>
                <a:gd name="T26" fmla="*/ 155697 w 312"/>
                <a:gd name="T27" fmla="*/ 118533 h 72"/>
                <a:gd name="T28" fmla="*/ 155697 w 312"/>
                <a:gd name="T29" fmla="*/ 133350 h 72"/>
                <a:gd name="T30" fmla="*/ 242196 w 312"/>
                <a:gd name="T31" fmla="*/ 118533 h 72"/>
                <a:gd name="T32" fmla="*/ 224896 w 312"/>
                <a:gd name="T33" fmla="*/ 103717 h 72"/>
                <a:gd name="T34" fmla="*/ 259495 w 312"/>
                <a:gd name="T35" fmla="*/ 103717 h 72"/>
                <a:gd name="T36" fmla="*/ 259495 w 312"/>
                <a:gd name="T37" fmla="*/ 88900 h 72"/>
                <a:gd name="T38" fmla="*/ 311394 w 312"/>
                <a:gd name="T39" fmla="*/ 88900 h 72"/>
                <a:gd name="T40" fmla="*/ 380593 w 312"/>
                <a:gd name="T41" fmla="*/ 59267 h 72"/>
                <a:gd name="T42" fmla="*/ 674688 w 312"/>
                <a:gd name="T43" fmla="*/ 14817 h 72"/>
                <a:gd name="T44" fmla="*/ 536290 w 312"/>
                <a:gd name="T45" fmla="*/ 0 h 72"/>
                <a:gd name="T46" fmla="*/ 415193 w 312"/>
                <a:gd name="T47" fmla="*/ 0 h 72"/>
                <a:gd name="T48" fmla="*/ 138398 w 312"/>
                <a:gd name="T49" fmla="*/ 29633 h 7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12"/>
                <a:gd name="T76" fmla="*/ 0 h 72"/>
                <a:gd name="T77" fmla="*/ 312 w 312"/>
                <a:gd name="T78" fmla="*/ 72 h 7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12" h="72">
                  <a:moveTo>
                    <a:pt x="64" y="16"/>
                  </a:moveTo>
                  <a:lnTo>
                    <a:pt x="72" y="24"/>
                  </a:lnTo>
                  <a:lnTo>
                    <a:pt x="88" y="24"/>
                  </a:lnTo>
                  <a:lnTo>
                    <a:pt x="72" y="32"/>
                  </a:lnTo>
                  <a:lnTo>
                    <a:pt x="80" y="32"/>
                  </a:lnTo>
                  <a:lnTo>
                    <a:pt x="80" y="40"/>
                  </a:lnTo>
                  <a:lnTo>
                    <a:pt x="40" y="48"/>
                  </a:lnTo>
                  <a:lnTo>
                    <a:pt x="56" y="48"/>
                  </a:lnTo>
                  <a:lnTo>
                    <a:pt x="32" y="48"/>
                  </a:lnTo>
                  <a:lnTo>
                    <a:pt x="24" y="56"/>
                  </a:lnTo>
                  <a:lnTo>
                    <a:pt x="32" y="56"/>
                  </a:lnTo>
                  <a:lnTo>
                    <a:pt x="8" y="64"/>
                  </a:lnTo>
                  <a:lnTo>
                    <a:pt x="0" y="64"/>
                  </a:lnTo>
                  <a:lnTo>
                    <a:pt x="72" y="64"/>
                  </a:lnTo>
                  <a:lnTo>
                    <a:pt x="72" y="72"/>
                  </a:lnTo>
                  <a:lnTo>
                    <a:pt x="112" y="64"/>
                  </a:lnTo>
                  <a:lnTo>
                    <a:pt x="104" y="56"/>
                  </a:lnTo>
                  <a:lnTo>
                    <a:pt x="120" y="56"/>
                  </a:lnTo>
                  <a:lnTo>
                    <a:pt x="120" y="48"/>
                  </a:lnTo>
                  <a:lnTo>
                    <a:pt x="144" y="48"/>
                  </a:lnTo>
                  <a:lnTo>
                    <a:pt x="176" y="32"/>
                  </a:lnTo>
                  <a:lnTo>
                    <a:pt x="312" y="8"/>
                  </a:lnTo>
                  <a:lnTo>
                    <a:pt x="248" y="0"/>
                  </a:lnTo>
                  <a:lnTo>
                    <a:pt x="192" y="0"/>
                  </a:lnTo>
                  <a:lnTo>
                    <a:pt x="64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8" name="Freeform 226">
              <a:extLst>
                <a:ext uri="{FF2B5EF4-FFF2-40B4-BE49-F238E27FC236}">
                  <a16:creationId xmlns:a16="http://schemas.microsoft.com/office/drawing/2014/main" id="{14B9A762-4CE7-F142-08E5-CF9688A73ED7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103563" y="2568576"/>
              <a:ext cx="17463" cy="14288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17463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9" name="Freeform 227">
              <a:extLst>
                <a:ext uri="{FF2B5EF4-FFF2-40B4-BE49-F238E27FC236}">
                  <a16:creationId xmlns:a16="http://schemas.microsoft.com/office/drawing/2014/main" id="{F0442B09-F9B6-7A30-F365-6FF8FBED9B76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2947988" y="2598738"/>
              <a:ext cx="173038" cy="28575"/>
            </a:xfrm>
            <a:custGeom>
              <a:avLst/>
              <a:gdLst>
                <a:gd name="T0" fmla="*/ 0 w 80"/>
                <a:gd name="T1" fmla="*/ 0 h 16"/>
                <a:gd name="T2" fmla="*/ 34608 w 80"/>
                <a:gd name="T3" fmla="*/ 0 h 16"/>
                <a:gd name="T4" fmla="*/ 0 w 80"/>
                <a:gd name="T5" fmla="*/ 0 h 16"/>
                <a:gd name="T6" fmla="*/ 17304 w 80"/>
                <a:gd name="T7" fmla="*/ 14288 h 16"/>
                <a:gd name="T8" fmla="*/ 69215 w 80"/>
                <a:gd name="T9" fmla="*/ 14288 h 16"/>
                <a:gd name="T10" fmla="*/ 69215 w 80"/>
                <a:gd name="T11" fmla="*/ 28575 h 16"/>
                <a:gd name="T12" fmla="*/ 173038 w 80"/>
                <a:gd name="T13" fmla="*/ 14288 h 16"/>
                <a:gd name="T14" fmla="*/ 138430 w 80"/>
                <a:gd name="T15" fmla="*/ 0 h 16"/>
                <a:gd name="T16" fmla="*/ 103823 w 80"/>
                <a:gd name="T17" fmla="*/ 14288 h 16"/>
                <a:gd name="T18" fmla="*/ 86519 w 80"/>
                <a:gd name="T19" fmla="*/ 14288 h 16"/>
                <a:gd name="T20" fmla="*/ 103823 w 80"/>
                <a:gd name="T21" fmla="*/ 0 h 16"/>
                <a:gd name="T22" fmla="*/ 86519 w 80"/>
                <a:gd name="T23" fmla="*/ 0 h 16"/>
                <a:gd name="T24" fmla="*/ 0 w 80"/>
                <a:gd name="T25" fmla="*/ 0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"/>
                <a:gd name="T40" fmla="*/ 0 h 16"/>
                <a:gd name="T41" fmla="*/ 80 w 80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" h="16">
                  <a:moveTo>
                    <a:pt x="0" y="0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8" y="8"/>
                  </a:lnTo>
                  <a:lnTo>
                    <a:pt x="32" y="8"/>
                  </a:lnTo>
                  <a:lnTo>
                    <a:pt x="32" y="16"/>
                  </a:lnTo>
                  <a:lnTo>
                    <a:pt x="80" y="8"/>
                  </a:lnTo>
                  <a:lnTo>
                    <a:pt x="64" y="0"/>
                  </a:lnTo>
                  <a:lnTo>
                    <a:pt x="48" y="8"/>
                  </a:lnTo>
                  <a:lnTo>
                    <a:pt x="40" y="8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0" name="Freeform 228">
              <a:extLst>
                <a:ext uri="{FF2B5EF4-FFF2-40B4-BE49-F238E27FC236}">
                  <a16:creationId xmlns:a16="http://schemas.microsoft.com/office/drawing/2014/main" id="{1515D0ED-D44E-7BAA-2AD6-BDB7ADAF7A0C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068638" y="2613026"/>
              <a:ext cx="85725" cy="14288"/>
            </a:xfrm>
            <a:custGeom>
              <a:avLst/>
              <a:gdLst>
                <a:gd name="T0" fmla="*/ 0 w 40"/>
                <a:gd name="T1" fmla="*/ 14288 h 8"/>
                <a:gd name="T2" fmla="*/ 68580 w 40"/>
                <a:gd name="T3" fmla="*/ 14288 h 8"/>
                <a:gd name="T4" fmla="*/ 85725 w 40"/>
                <a:gd name="T5" fmla="*/ 0 h 8"/>
                <a:gd name="T6" fmla="*/ 0 w 40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"/>
                <a:gd name="T13" fmla="*/ 0 h 8"/>
                <a:gd name="T14" fmla="*/ 40 w 40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" h="8">
                  <a:moveTo>
                    <a:pt x="0" y="8"/>
                  </a:moveTo>
                  <a:lnTo>
                    <a:pt x="32" y="8"/>
                  </a:lnTo>
                  <a:lnTo>
                    <a:pt x="4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1" name="Freeform 229">
              <a:extLst>
                <a:ext uri="{FF2B5EF4-FFF2-40B4-BE49-F238E27FC236}">
                  <a16:creationId xmlns:a16="http://schemas.microsoft.com/office/drawing/2014/main" id="{26EDB42B-BFCA-366E-C185-477E56461554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2895601" y="2627313"/>
              <a:ext cx="34925" cy="3175"/>
            </a:xfrm>
            <a:custGeom>
              <a:avLst/>
              <a:gdLst>
                <a:gd name="T0" fmla="*/ 17463 w 16"/>
                <a:gd name="T1" fmla="*/ 0 h 2"/>
                <a:gd name="T2" fmla="*/ 0 w 16"/>
                <a:gd name="T3" fmla="*/ 0 h 2"/>
                <a:gd name="T4" fmla="*/ 17463 w 16"/>
                <a:gd name="T5" fmla="*/ 0 h 2"/>
                <a:gd name="T6" fmla="*/ 34925 w 16"/>
                <a:gd name="T7" fmla="*/ 0 h 2"/>
                <a:gd name="T8" fmla="*/ 17463 w 1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2"/>
                <a:gd name="T17" fmla="*/ 16 w 1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2">
                  <a:moveTo>
                    <a:pt x="8" y="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2" name="Freeform 230">
              <a:extLst>
                <a:ext uri="{FF2B5EF4-FFF2-40B4-BE49-F238E27FC236}">
                  <a16:creationId xmlns:a16="http://schemas.microsoft.com/office/drawing/2014/main" id="{FA099725-0526-1CB4-DCCB-4A27B23D17D7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2878138" y="2643188"/>
              <a:ext cx="138113" cy="28575"/>
            </a:xfrm>
            <a:custGeom>
              <a:avLst/>
              <a:gdLst>
                <a:gd name="T0" fmla="*/ 0 w 64"/>
                <a:gd name="T1" fmla="*/ 0 h 16"/>
                <a:gd name="T2" fmla="*/ 0 w 64"/>
                <a:gd name="T3" fmla="*/ 28575 h 16"/>
                <a:gd name="T4" fmla="*/ 34528 w 64"/>
                <a:gd name="T5" fmla="*/ 28575 h 16"/>
                <a:gd name="T6" fmla="*/ 86321 w 64"/>
                <a:gd name="T7" fmla="*/ 28575 h 16"/>
                <a:gd name="T8" fmla="*/ 138113 w 64"/>
                <a:gd name="T9" fmla="*/ 0 h 16"/>
                <a:gd name="T10" fmla="*/ 86321 w 64"/>
                <a:gd name="T11" fmla="*/ 0 h 16"/>
                <a:gd name="T12" fmla="*/ 51792 w 64"/>
                <a:gd name="T13" fmla="*/ 14288 h 16"/>
                <a:gd name="T14" fmla="*/ 34528 w 64"/>
                <a:gd name="T15" fmla="*/ 0 h 16"/>
                <a:gd name="T16" fmla="*/ 0 w 64"/>
                <a:gd name="T17" fmla="*/ 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4"/>
                <a:gd name="T28" fmla="*/ 0 h 16"/>
                <a:gd name="T29" fmla="*/ 64 w 64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4" h="16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40" y="16"/>
                  </a:lnTo>
                  <a:lnTo>
                    <a:pt x="64" y="0"/>
                  </a:lnTo>
                  <a:lnTo>
                    <a:pt x="40" y="0"/>
                  </a:lnTo>
                  <a:lnTo>
                    <a:pt x="24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3" name="Freeform 231">
              <a:extLst>
                <a:ext uri="{FF2B5EF4-FFF2-40B4-BE49-F238E27FC236}">
                  <a16:creationId xmlns:a16="http://schemas.microsoft.com/office/drawing/2014/main" id="{5273C096-B1CE-D32E-B7D6-118A73C2C517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2809876" y="2701926"/>
              <a:ext cx="138113" cy="58738"/>
            </a:xfrm>
            <a:custGeom>
              <a:avLst/>
              <a:gdLst>
                <a:gd name="T0" fmla="*/ 0 w 64"/>
                <a:gd name="T1" fmla="*/ 29369 h 32"/>
                <a:gd name="T2" fmla="*/ 0 w 64"/>
                <a:gd name="T3" fmla="*/ 44053 h 32"/>
                <a:gd name="T4" fmla="*/ 17264 w 64"/>
                <a:gd name="T5" fmla="*/ 44053 h 32"/>
                <a:gd name="T6" fmla="*/ 34528 w 64"/>
                <a:gd name="T7" fmla="*/ 58738 h 32"/>
                <a:gd name="T8" fmla="*/ 103585 w 64"/>
                <a:gd name="T9" fmla="*/ 44053 h 32"/>
                <a:gd name="T10" fmla="*/ 120849 w 64"/>
                <a:gd name="T11" fmla="*/ 14685 h 32"/>
                <a:gd name="T12" fmla="*/ 103585 w 64"/>
                <a:gd name="T13" fmla="*/ 14685 h 32"/>
                <a:gd name="T14" fmla="*/ 138113 w 64"/>
                <a:gd name="T15" fmla="*/ 0 h 32"/>
                <a:gd name="T16" fmla="*/ 51792 w 64"/>
                <a:gd name="T17" fmla="*/ 0 h 32"/>
                <a:gd name="T18" fmla="*/ 51792 w 64"/>
                <a:gd name="T19" fmla="*/ 14685 h 32"/>
                <a:gd name="T20" fmla="*/ 0 w 64"/>
                <a:gd name="T21" fmla="*/ 29369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4"/>
                <a:gd name="T34" fmla="*/ 0 h 32"/>
                <a:gd name="T35" fmla="*/ 64 w 64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4" h="32">
                  <a:moveTo>
                    <a:pt x="0" y="16"/>
                  </a:moveTo>
                  <a:lnTo>
                    <a:pt x="0" y="24"/>
                  </a:lnTo>
                  <a:lnTo>
                    <a:pt x="8" y="24"/>
                  </a:lnTo>
                  <a:lnTo>
                    <a:pt x="16" y="32"/>
                  </a:lnTo>
                  <a:lnTo>
                    <a:pt x="48" y="24"/>
                  </a:lnTo>
                  <a:lnTo>
                    <a:pt x="56" y="8"/>
                  </a:lnTo>
                  <a:lnTo>
                    <a:pt x="48" y="8"/>
                  </a:lnTo>
                  <a:lnTo>
                    <a:pt x="64" y="0"/>
                  </a:lnTo>
                  <a:lnTo>
                    <a:pt x="24" y="0"/>
                  </a:lnTo>
                  <a:lnTo>
                    <a:pt x="24" y="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4" name="Line 232">
              <a:extLst>
                <a:ext uri="{FF2B5EF4-FFF2-40B4-BE49-F238E27FC236}">
                  <a16:creationId xmlns:a16="http://schemas.microsoft.com/office/drawing/2014/main" id="{03B2A5EF-73D4-F2C3-1A96-DE4AF5A65969}"/>
                </a:ext>
              </a:extLst>
            </p:cNvPr>
            <p:cNvSpPr>
              <a:spLocks noChangeShapeType="1"/>
            </p:cNvSpPr>
            <p:nvPr>
              <p:custDataLst>
                <p:tags r:id="rId197"/>
              </p:custDataLst>
            </p:nvPr>
          </p:nvSpPr>
          <p:spPr bwMode="auto">
            <a:xfrm>
              <a:off x="2843213" y="2687638"/>
              <a:ext cx="17463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5" name="Line 233">
              <a:extLst>
                <a:ext uri="{FF2B5EF4-FFF2-40B4-BE49-F238E27FC236}">
                  <a16:creationId xmlns:a16="http://schemas.microsoft.com/office/drawing/2014/main" id="{CC363518-AAD0-7ED9-7D64-893F8A562C0B}"/>
                </a:ext>
              </a:extLst>
            </p:cNvPr>
            <p:cNvSpPr>
              <a:spLocks noChangeShapeType="1"/>
            </p:cNvSpPr>
            <p:nvPr>
              <p:custDataLst>
                <p:tags r:id="rId198"/>
              </p:custDataLst>
            </p:nvPr>
          </p:nvSpPr>
          <p:spPr bwMode="auto">
            <a:xfrm>
              <a:off x="2774951" y="2627313"/>
              <a:ext cx="103188" cy="3175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6" name="Freeform 234">
              <a:extLst>
                <a:ext uri="{FF2B5EF4-FFF2-40B4-BE49-F238E27FC236}">
                  <a16:creationId xmlns:a16="http://schemas.microsoft.com/office/drawing/2014/main" id="{0AC71EBE-9460-0F7A-92ED-DC7AC8DFE74F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2740026" y="2613026"/>
              <a:ext cx="17463" cy="14288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14288 h 8"/>
                <a:gd name="T4" fmla="*/ 17463 w 8"/>
                <a:gd name="T5" fmla="*/ 0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7" name="Freeform 235">
              <a:extLst>
                <a:ext uri="{FF2B5EF4-FFF2-40B4-BE49-F238E27FC236}">
                  <a16:creationId xmlns:a16="http://schemas.microsoft.com/office/drawing/2014/main" id="{D15E6EB5-89E8-21E2-FF43-188B578FA37C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2757488" y="2613026"/>
              <a:ext cx="85725" cy="14288"/>
            </a:xfrm>
            <a:custGeom>
              <a:avLst/>
              <a:gdLst>
                <a:gd name="T0" fmla="*/ 0 w 40"/>
                <a:gd name="T1" fmla="*/ 14288 h 8"/>
                <a:gd name="T2" fmla="*/ 17145 w 40"/>
                <a:gd name="T3" fmla="*/ 14288 h 8"/>
                <a:gd name="T4" fmla="*/ 85725 w 40"/>
                <a:gd name="T5" fmla="*/ 0 h 8"/>
                <a:gd name="T6" fmla="*/ 0 w 40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"/>
                <a:gd name="T13" fmla="*/ 0 h 8"/>
                <a:gd name="T14" fmla="*/ 40 w 40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" h="8">
                  <a:moveTo>
                    <a:pt x="0" y="8"/>
                  </a:moveTo>
                  <a:lnTo>
                    <a:pt x="8" y="8"/>
                  </a:lnTo>
                  <a:lnTo>
                    <a:pt x="4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8" name="Freeform 236">
              <a:extLst>
                <a:ext uri="{FF2B5EF4-FFF2-40B4-BE49-F238E27FC236}">
                  <a16:creationId xmlns:a16="http://schemas.microsoft.com/office/drawing/2014/main" id="{BC8F2119-62B7-F304-B79B-AC51A41E0DA1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2566988" y="2657476"/>
              <a:ext cx="52388" cy="14288"/>
            </a:xfrm>
            <a:custGeom>
              <a:avLst/>
              <a:gdLst>
                <a:gd name="T0" fmla="*/ 0 w 24"/>
                <a:gd name="T1" fmla="*/ 14288 h 8"/>
                <a:gd name="T2" fmla="*/ 17463 w 24"/>
                <a:gd name="T3" fmla="*/ 14288 h 8"/>
                <a:gd name="T4" fmla="*/ 52388 w 24"/>
                <a:gd name="T5" fmla="*/ 0 h 8"/>
                <a:gd name="T6" fmla="*/ 0 w 24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"/>
                <a:gd name="T13" fmla="*/ 0 h 8"/>
                <a:gd name="T14" fmla="*/ 24 w 2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" h="8">
                  <a:moveTo>
                    <a:pt x="0" y="8"/>
                  </a:moveTo>
                  <a:lnTo>
                    <a:pt x="8" y="8"/>
                  </a:lnTo>
                  <a:lnTo>
                    <a:pt x="24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9" name="Freeform 237">
              <a:extLst>
                <a:ext uri="{FF2B5EF4-FFF2-40B4-BE49-F238E27FC236}">
                  <a16:creationId xmlns:a16="http://schemas.microsoft.com/office/drawing/2014/main" id="{BC1BA3F8-C8B6-B118-656E-08A639217D5C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2514601" y="2627313"/>
              <a:ext cx="190500" cy="30163"/>
            </a:xfrm>
            <a:custGeom>
              <a:avLst/>
              <a:gdLst>
                <a:gd name="T0" fmla="*/ 0 w 88"/>
                <a:gd name="T1" fmla="*/ 30163 h 16"/>
                <a:gd name="T2" fmla="*/ 51955 w 88"/>
                <a:gd name="T3" fmla="*/ 30163 h 16"/>
                <a:gd name="T4" fmla="*/ 103909 w 88"/>
                <a:gd name="T5" fmla="*/ 15082 h 16"/>
                <a:gd name="T6" fmla="*/ 121227 w 88"/>
                <a:gd name="T7" fmla="*/ 30163 h 16"/>
                <a:gd name="T8" fmla="*/ 190500 w 88"/>
                <a:gd name="T9" fmla="*/ 0 h 16"/>
                <a:gd name="T10" fmla="*/ 121227 w 88"/>
                <a:gd name="T11" fmla="*/ 0 h 16"/>
                <a:gd name="T12" fmla="*/ 0 w 88"/>
                <a:gd name="T13" fmla="*/ 30163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8"/>
                <a:gd name="T22" fmla="*/ 0 h 16"/>
                <a:gd name="T23" fmla="*/ 88 w 88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8" h="16">
                  <a:moveTo>
                    <a:pt x="0" y="16"/>
                  </a:moveTo>
                  <a:lnTo>
                    <a:pt x="24" y="16"/>
                  </a:lnTo>
                  <a:lnTo>
                    <a:pt x="48" y="8"/>
                  </a:lnTo>
                  <a:lnTo>
                    <a:pt x="56" y="16"/>
                  </a:lnTo>
                  <a:lnTo>
                    <a:pt x="88" y="0"/>
                  </a:lnTo>
                  <a:lnTo>
                    <a:pt x="56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0" name="Freeform 238">
              <a:extLst>
                <a:ext uri="{FF2B5EF4-FFF2-40B4-BE49-F238E27FC236}">
                  <a16:creationId xmlns:a16="http://schemas.microsoft.com/office/drawing/2014/main" id="{CCA35A5B-F0FB-F121-607C-2C8A5B4952DE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2584451" y="2643188"/>
              <a:ext cx="258763" cy="44450"/>
            </a:xfrm>
            <a:custGeom>
              <a:avLst/>
              <a:gdLst>
                <a:gd name="T0" fmla="*/ 0 w 120"/>
                <a:gd name="T1" fmla="*/ 29633 h 24"/>
                <a:gd name="T2" fmla="*/ 51753 w 120"/>
                <a:gd name="T3" fmla="*/ 29633 h 24"/>
                <a:gd name="T4" fmla="*/ 69003 w 120"/>
                <a:gd name="T5" fmla="*/ 29633 h 24"/>
                <a:gd name="T6" fmla="*/ 86254 w 120"/>
                <a:gd name="T7" fmla="*/ 44450 h 24"/>
                <a:gd name="T8" fmla="*/ 51753 w 120"/>
                <a:gd name="T9" fmla="*/ 44450 h 24"/>
                <a:gd name="T10" fmla="*/ 69003 w 120"/>
                <a:gd name="T11" fmla="*/ 44450 h 24"/>
                <a:gd name="T12" fmla="*/ 224261 w 120"/>
                <a:gd name="T13" fmla="*/ 29633 h 24"/>
                <a:gd name="T14" fmla="*/ 258763 w 120"/>
                <a:gd name="T15" fmla="*/ 14817 h 24"/>
                <a:gd name="T16" fmla="*/ 224261 w 120"/>
                <a:gd name="T17" fmla="*/ 14817 h 24"/>
                <a:gd name="T18" fmla="*/ 224261 w 120"/>
                <a:gd name="T19" fmla="*/ 0 h 24"/>
                <a:gd name="T20" fmla="*/ 172509 w 120"/>
                <a:gd name="T21" fmla="*/ 14817 h 24"/>
                <a:gd name="T22" fmla="*/ 189760 w 120"/>
                <a:gd name="T23" fmla="*/ 14817 h 24"/>
                <a:gd name="T24" fmla="*/ 172509 w 120"/>
                <a:gd name="T25" fmla="*/ 14817 h 24"/>
                <a:gd name="T26" fmla="*/ 172509 w 120"/>
                <a:gd name="T27" fmla="*/ 29633 h 24"/>
                <a:gd name="T28" fmla="*/ 138007 w 120"/>
                <a:gd name="T29" fmla="*/ 29633 h 24"/>
                <a:gd name="T30" fmla="*/ 138007 w 120"/>
                <a:gd name="T31" fmla="*/ 14817 h 24"/>
                <a:gd name="T32" fmla="*/ 86254 w 120"/>
                <a:gd name="T33" fmla="*/ 0 h 24"/>
                <a:gd name="T34" fmla="*/ 0 w 120"/>
                <a:gd name="T35" fmla="*/ 29633 h 2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0"/>
                <a:gd name="T55" fmla="*/ 0 h 24"/>
                <a:gd name="T56" fmla="*/ 120 w 120"/>
                <a:gd name="T57" fmla="*/ 24 h 2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0" h="24">
                  <a:moveTo>
                    <a:pt x="0" y="16"/>
                  </a:moveTo>
                  <a:lnTo>
                    <a:pt x="24" y="16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104" y="16"/>
                  </a:lnTo>
                  <a:lnTo>
                    <a:pt x="120" y="8"/>
                  </a:lnTo>
                  <a:lnTo>
                    <a:pt x="104" y="8"/>
                  </a:lnTo>
                  <a:lnTo>
                    <a:pt x="104" y="0"/>
                  </a:lnTo>
                  <a:lnTo>
                    <a:pt x="80" y="8"/>
                  </a:lnTo>
                  <a:lnTo>
                    <a:pt x="88" y="8"/>
                  </a:lnTo>
                  <a:lnTo>
                    <a:pt x="80" y="8"/>
                  </a:lnTo>
                  <a:lnTo>
                    <a:pt x="80" y="16"/>
                  </a:lnTo>
                  <a:lnTo>
                    <a:pt x="64" y="16"/>
                  </a:lnTo>
                  <a:lnTo>
                    <a:pt x="64" y="8"/>
                  </a:lnTo>
                  <a:lnTo>
                    <a:pt x="4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1" name="Freeform 239">
              <a:extLst>
                <a:ext uri="{FF2B5EF4-FFF2-40B4-BE49-F238E27FC236}">
                  <a16:creationId xmlns:a16="http://schemas.microsoft.com/office/drawing/2014/main" id="{0F3409B5-2469-72A9-E9F2-0BB3EEC341B7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2428876" y="2701926"/>
              <a:ext cx="363538" cy="117475"/>
            </a:xfrm>
            <a:custGeom>
              <a:avLst/>
              <a:gdLst>
                <a:gd name="T0" fmla="*/ 17311 w 168"/>
                <a:gd name="T1" fmla="*/ 58738 h 64"/>
                <a:gd name="T2" fmla="*/ 34623 w 168"/>
                <a:gd name="T3" fmla="*/ 58738 h 64"/>
                <a:gd name="T4" fmla="*/ 17311 w 168"/>
                <a:gd name="T5" fmla="*/ 58738 h 64"/>
                <a:gd name="T6" fmla="*/ 17311 w 168"/>
                <a:gd name="T7" fmla="*/ 73422 h 64"/>
                <a:gd name="T8" fmla="*/ 103868 w 168"/>
                <a:gd name="T9" fmla="*/ 73422 h 64"/>
                <a:gd name="T10" fmla="*/ 17311 w 168"/>
                <a:gd name="T11" fmla="*/ 88106 h 64"/>
                <a:gd name="T12" fmla="*/ 0 w 168"/>
                <a:gd name="T13" fmla="*/ 102791 h 64"/>
                <a:gd name="T14" fmla="*/ 51934 w 168"/>
                <a:gd name="T15" fmla="*/ 102791 h 64"/>
                <a:gd name="T16" fmla="*/ 34623 w 168"/>
                <a:gd name="T17" fmla="*/ 117475 h 64"/>
                <a:gd name="T18" fmla="*/ 207736 w 168"/>
                <a:gd name="T19" fmla="*/ 102791 h 64"/>
                <a:gd name="T20" fmla="*/ 242359 w 168"/>
                <a:gd name="T21" fmla="*/ 117475 h 64"/>
                <a:gd name="T22" fmla="*/ 276981 w 168"/>
                <a:gd name="T23" fmla="*/ 117475 h 64"/>
                <a:gd name="T24" fmla="*/ 346227 w 168"/>
                <a:gd name="T25" fmla="*/ 88106 h 64"/>
                <a:gd name="T26" fmla="*/ 294293 w 168"/>
                <a:gd name="T27" fmla="*/ 73422 h 64"/>
                <a:gd name="T28" fmla="*/ 294293 w 168"/>
                <a:gd name="T29" fmla="*/ 58738 h 64"/>
                <a:gd name="T30" fmla="*/ 311604 w 168"/>
                <a:gd name="T31" fmla="*/ 58738 h 64"/>
                <a:gd name="T32" fmla="*/ 311604 w 168"/>
                <a:gd name="T33" fmla="*/ 29369 h 64"/>
                <a:gd name="T34" fmla="*/ 363538 w 168"/>
                <a:gd name="T35" fmla="*/ 14684 h 64"/>
                <a:gd name="T36" fmla="*/ 328915 w 168"/>
                <a:gd name="T37" fmla="*/ 0 h 64"/>
                <a:gd name="T38" fmla="*/ 276981 w 168"/>
                <a:gd name="T39" fmla="*/ 29369 h 64"/>
                <a:gd name="T40" fmla="*/ 207736 w 168"/>
                <a:gd name="T41" fmla="*/ 14684 h 64"/>
                <a:gd name="T42" fmla="*/ 173113 w 168"/>
                <a:gd name="T43" fmla="*/ 29369 h 64"/>
                <a:gd name="T44" fmla="*/ 173113 w 168"/>
                <a:gd name="T45" fmla="*/ 14684 h 64"/>
                <a:gd name="T46" fmla="*/ 155802 w 168"/>
                <a:gd name="T47" fmla="*/ 14684 h 64"/>
                <a:gd name="T48" fmla="*/ 69245 w 168"/>
                <a:gd name="T49" fmla="*/ 29369 h 64"/>
                <a:gd name="T50" fmla="*/ 17311 w 168"/>
                <a:gd name="T51" fmla="*/ 58738 h 6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68"/>
                <a:gd name="T79" fmla="*/ 0 h 64"/>
                <a:gd name="T80" fmla="*/ 168 w 168"/>
                <a:gd name="T81" fmla="*/ 64 h 6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68" h="64">
                  <a:moveTo>
                    <a:pt x="8" y="32"/>
                  </a:moveTo>
                  <a:lnTo>
                    <a:pt x="16" y="32"/>
                  </a:lnTo>
                  <a:lnTo>
                    <a:pt x="8" y="32"/>
                  </a:lnTo>
                  <a:lnTo>
                    <a:pt x="8" y="40"/>
                  </a:lnTo>
                  <a:lnTo>
                    <a:pt x="48" y="40"/>
                  </a:lnTo>
                  <a:lnTo>
                    <a:pt x="8" y="48"/>
                  </a:lnTo>
                  <a:lnTo>
                    <a:pt x="0" y="56"/>
                  </a:lnTo>
                  <a:lnTo>
                    <a:pt x="24" y="56"/>
                  </a:lnTo>
                  <a:lnTo>
                    <a:pt x="16" y="64"/>
                  </a:lnTo>
                  <a:lnTo>
                    <a:pt x="96" y="56"/>
                  </a:lnTo>
                  <a:lnTo>
                    <a:pt x="112" y="64"/>
                  </a:lnTo>
                  <a:lnTo>
                    <a:pt x="128" y="64"/>
                  </a:lnTo>
                  <a:lnTo>
                    <a:pt x="160" y="48"/>
                  </a:lnTo>
                  <a:lnTo>
                    <a:pt x="136" y="40"/>
                  </a:lnTo>
                  <a:lnTo>
                    <a:pt x="136" y="32"/>
                  </a:lnTo>
                  <a:lnTo>
                    <a:pt x="144" y="32"/>
                  </a:lnTo>
                  <a:lnTo>
                    <a:pt x="144" y="16"/>
                  </a:lnTo>
                  <a:lnTo>
                    <a:pt x="168" y="8"/>
                  </a:lnTo>
                  <a:lnTo>
                    <a:pt x="152" y="0"/>
                  </a:lnTo>
                  <a:lnTo>
                    <a:pt x="128" y="16"/>
                  </a:lnTo>
                  <a:lnTo>
                    <a:pt x="96" y="8"/>
                  </a:lnTo>
                  <a:lnTo>
                    <a:pt x="80" y="16"/>
                  </a:lnTo>
                  <a:lnTo>
                    <a:pt x="80" y="8"/>
                  </a:lnTo>
                  <a:lnTo>
                    <a:pt x="72" y="8"/>
                  </a:lnTo>
                  <a:lnTo>
                    <a:pt x="32" y="16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2" name="Freeform 240">
              <a:extLst>
                <a:ext uri="{FF2B5EF4-FFF2-40B4-BE49-F238E27FC236}">
                  <a16:creationId xmlns:a16="http://schemas.microsoft.com/office/drawing/2014/main" id="{851AD163-E196-D0E9-E3D3-7D60BC935FA7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2325688" y="2687638"/>
              <a:ext cx="258763" cy="73025"/>
            </a:xfrm>
            <a:custGeom>
              <a:avLst/>
              <a:gdLst>
                <a:gd name="T0" fmla="*/ 0 w 120"/>
                <a:gd name="T1" fmla="*/ 58420 h 40"/>
                <a:gd name="T2" fmla="*/ 17251 w 120"/>
                <a:gd name="T3" fmla="*/ 58420 h 40"/>
                <a:gd name="T4" fmla="*/ 17251 w 120"/>
                <a:gd name="T5" fmla="*/ 73025 h 40"/>
                <a:gd name="T6" fmla="*/ 69003 w 120"/>
                <a:gd name="T7" fmla="*/ 73025 h 40"/>
                <a:gd name="T8" fmla="*/ 138007 w 120"/>
                <a:gd name="T9" fmla="*/ 43815 h 40"/>
                <a:gd name="T10" fmla="*/ 258763 w 120"/>
                <a:gd name="T11" fmla="*/ 29210 h 40"/>
                <a:gd name="T12" fmla="*/ 241512 w 120"/>
                <a:gd name="T13" fmla="*/ 14605 h 40"/>
                <a:gd name="T14" fmla="*/ 172509 w 120"/>
                <a:gd name="T15" fmla="*/ 0 h 40"/>
                <a:gd name="T16" fmla="*/ 86254 w 120"/>
                <a:gd name="T17" fmla="*/ 14605 h 40"/>
                <a:gd name="T18" fmla="*/ 86254 w 120"/>
                <a:gd name="T19" fmla="*/ 29210 h 40"/>
                <a:gd name="T20" fmla="*/ 0 w 120"/>
                <a:gd name="T21" fmla="*/ 58420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0"/>
                <a:gd name="T34" fmla="*/ 0 h 40"/>
                <a:gd name="T35" fmla="*/ 120 w 120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0" h="40">
                  <a:moveTo>
                    <a:pt x="0" y="32"/>
                  </a:moveTo>
                  <a:lnTo>
                    <a:pt x="8" y="32"/>
                  </a:lnTo>
                  <a:lnTo>
                    <a:pt x="8" y="40"/>
                  </a:lnTo>
                  <a:lnTo>
                    <a:pt x="32" y="40"/>
                  </a:lnTo>
                  <a:lnTo>
                    <a:pt x="64" y="24"/>
                  </a:lnTo>
                  <a:lnTo>
                    <a:pt x="120" y="16"/>
                  </a:lnTo>
                  <a:lnTo>
                    <a:pt x="112" y="8"/>
                  </a:lnTo>
                  <a:lnTo>
                    <a:pt x="80" y="0"/>
                  </a:lnTo>
                  <a:lnTo>
                    <a:pt x="40" y="8"/>
                  </a:lnTo>
                  <a:lnTo>
                    <a:pt x="40" y="16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3" name="Freeform 241">
              <a:extLst>
                <a:ext uri="{FF2B5EF4-FFF2-40B4-BE49-F238E27FC236}">
                  <a16:creationId xmlns:a16="http://schemas.microsoft.com/office/drawing/2014/main" id="{595BEC2E-20FB-7C64-3D25-E9A49392769E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17551" y="3189288"/>
              <a:ext cx="50800" cy="28575"/>
            </a:xfrm>
            <a:custGeom>
              <a:avLst/>
              <a:gdLst>
                <a:gd name="T0" fmla="*/ 0 w 24"/>
                <a:gd name="T1" fmla="*/ 28575 h 16"/>
                <a:gd name="T2" fmla="*/ 50800 w 24"/>
                <a:gd name="T3" fmla="*/ 0 h 16"/>
                <a:gd name="T4" fmla="*/ 33867 w 24"/>
                <a:gd name="T5" fmla="*/ 0 h 16"/>
                <a:gd name="T6" fmla="*/ 0 w 24"/>
                <a:gd name="T7" fmla="*/ 28575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"/>
                <a:gd name="T13" fmla="*/ 0 h 16"/>
                <a:gd name="T14" fmla="*/ 24 w 24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" h="16">
                  <a:moveTo>
                    <a:pt x="0" y="16"/>
                  </a:moveTo>
                  <a:lnTo>
                    <a:pt x="24" y="0"/>
                  </a:lnTo>
                  <a:lnTo>
                    <a:pt x="16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4" name="Freeform 242">
              <a:extLst>
                <a:ext uri="{FF2B5EF4-FFF2-40B4-BE49-F238E27FC236}">
                  <a16:creationId xmlns:a16="http://schemas.microsoft.com/office/drawing/2014/main" id="{D026976D-6D4A-9215-0635-B51BD49A16E0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034463" y="2938463"/>
              <a:ext cx="85725" cy="14288"/>
            </a:xfrm>
            <a:custGeom>
              <a:avLst/>
              <a:gdLst>
                <a:gd name="T0" fmla="*/ 0 w 40"/>
                <a:gd name="T1" fmla="*/ 0 h 8"/>
                <a:gd name="T2" fmla="*/ 17145 w 40"/>
                <a:gd name="T3" fmla="*/ 14288 h 8"/>
                <a:gd name="T4" fmla="*/ 68580 w 40"/>
                <a:gd name="T5" fmla="*/ 14288 h 8"/>
                <a:gd name="T6" fmla="*/ 85725 w 40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"/>
                <a:gd name="T13" fmla="*/ 0 h 8"/>
                <a:gd name="T14" fmla="*/ 40 w 40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" h="8">
                  <a:moveTo>
                    <a:pt x="0" y="0"/>
                  </a:moveTo>
                  <a:lnTo>
                    <a:pt x="8" y="8"/>
                  </a:lnTo>
                  <a:lnTo>
                    <a:pt x="32" y="8"/>
                  </a:lnTo>
                  <a:lnTo>
                    <a:pt x="40" y="8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5" name="Line 243">
              <a:extLst>
                <a:ext uri="{FF2B5EF4-FFF2-40B4-BE49-F238E27FC236}">
                  <a16:creationId xmlns:a16="http://schemas.microsoft.com/office/drawing/2014/main" id="{B6B07A75-27CB-5A63-4DEA-E757C48341F8}"/>
                </a:ext>
              </a:extLst>
            </p:cNvPr>
            <p:cNvSpPr>
              <a:spLocks noChangeShapeType="1"/>
            </p:cNvSpPr>
            <p:nvPr>
              <p:custDataLst>
                <p:tags r:id="rId208"/>
              </p:custDataLst>
            </p:nvPr>
          </p:nvSpPr>
          <p:spPr bwMode="auto">
            <a:xfrm flipV="1">
              <a:off x="665163" y="3217863"/>
              <a:ext cx="52388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6" name="Line 244">
              <a:extLst>
                <a:ext uri="{FF2B5EF4-FFF2-40B4-BE49-F238E27FC236}">
                  <a16:creationId xmlns:a16="http://schemas.microsoft.com/office/drawing/2014/main" id="{9873E4FE-070E-8FD9-DC2E-98BF15B8540E}"/>
                </a:ext>
              </a:extLst>
            </p:cNvPr>
            <p:cNvSpPr>
              <a:spLocks noChangeShapeType="1"/>
            </p:cNvSpPr>
            <p:nvPr>
              <p:custDataLst>
                <p:tags r:id="rId209"/>
              </p:custDataLst>
            </p:nvPr>
          </p:nvSpPr>
          <p:spPr bwMode="auto">
            <a:xfrm>
              <a:off x="9034463" y="2952751"/>
              <a:ext cx="68263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7" name="Freeform 245">
              <a:extLst>
                <a:ext uri="{FF2B5EF4-FFF2-40B4-BE49-F238E27FC236}">
                  <a16:creationId xmlns:a16="http://schemas.microsoft.com/office/drawing/2014/main" id="{9489F20D-A7EC-6580-B08B-2D7BAA1CEA2D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976313" y="3025776"/>
              <a:ext cx="52388" cy="15875"/>
            </a:xfrm>
            <a:custGeom>
              <a:avLst/>
              <a:gdLst>
                <a:gd name="T0" fmla="*/ 0 w 24"/>
                <a:gd name="T1" fmla="*/ 0 h 8"/>
                <a:gd name="T2" fmla="*/ 17463 w 24"/>
                <a:gd name="T3" fmla="*/ 15875 h 8"/>
                <a:gd name="T4" fmla="*/ 52388 w 24"/>
                <a:gd name="T5" fmla="*/ 0 h 8"/>
                <a:gd name="T6" fmla="*/ 0 w 2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"/>
                <a:gd name="T13" fmla="*/ 0 h 8"/>
                <a:gd name="T14" fmla="*/ 24 w 2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" h="8">
                  <a:moveTo>
                    <a:pt x="0" y="0"/>
                  </a:moveTo>
                  <a:lnTo>
                    <a:pt x="8" y="8"/>
                  </a:lnTo>
                  <a:lnTo>
                    <a:pt x="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8" name="Freeform 246">
              <a:extLst>
                <a:ext uri="{FF2B5EF4-FFF2-40B4-BE49-F238E27FC236}">
                  <a16:creationId xmlns:a16="http://schemas.microsoft.com/office/drawing/2014/main" id="{521F766D-20BC-049A-34EB-BF93DBEEFFE3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1166813" y="3070226"/>
              <a:ext cx="85725" cy="44450"/>
            </a:xfrm>
            <a:custGeom>
              <a:avLst/>
              <a:gdLst>
                <a:gd name="T0" fmla="*/ 0 w 40"/>
                <a:gd name="T1" fmla="*/ 44450 h 24"/>
                <a:gd name="T2" fmla="*/ 68580 w 40"/>
                <a:gd name="T3" fmla="*/ 29633 h 24"/>
                <a:gd name="T4" fmla="*/ 68580 w 40"/>
                <a:gd name="T5" fmla="*/ 14817 h 24"/>
                <a:gd name="T6" fmla="*/ 85725 w 40"/>
                <a:gd name="T7" fmla="*/ 14817 h 24"/>
                <a:gd name="T8" fmla="*/ 85725 w 40"/>
                <a:gd name="T9" fmla="*/ 0 h 24"/>
                <a:gd name="T10" fmla="*/ 0 w 40"/>
                <a:gd name="T11" fmla="*/ 4445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24"/>
                <a:gd name="T20" fmla="*/ 40 w 40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24">
                  <a:moveTo>
                    <a:pt x="0" y="24"/>
                  </a:moveTo>
                  <a:lnTo>
                    <a:pt x="32" y="16"/>
                  </a:lnTo>
                  <a:lnTo>
                    <a:pt x="32" y="8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9" name="Freeform 247">
              <a:extLst>
                <a:ext uri="{FF2B5EF4-FFF2-40B4-BE49-F238E27FC236}">
                  <a16:creationId xmlns:a16="http://schemas.microsoft.com/office/drawing/2014/main" id="{ED6B8CD3-EDCD-2731-25A7-E4A6D95FF4B8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1563688" y="3189288"/>
              <a:ext cx="52388" cy="58738"/>
            </a:xfrm>
            <a:custGeom>
              <a:avLst/>
              <a:gdLst>
                <a:gd name="T0" fmla="*/ 17463 w 24"/>
                <a:gd name="T1" fmla="*/ 0 h 32"/>
                <a:gd name="T2" fmla="*/ 0 w 24"/>
                <a:gd name="T3" fmla="*/ 14685 h 32"/>
                <a:gd name="T4" fmla="*/ 0 w 24"/>
                <a:gd name="T5" fmla="*/ 44053 h 32"/>
                <a:gd name="T6" fmla="*/ 17463 w 24"/>
                <a:gd name="T7" fmla="*/ 58738 h 32"/>
                <a:gd name="T8" fmla="*/ 17463 w 24"/>
                <a:gd name="T9" fmla="*/ 44053 h 32"/>
                <a:gd name="T10" fmla="*/ 52388 w 24"/>
                <a:gd name="T11" fmla="*/ 0 h 32"/>
                <a:gd name="T12" fmla="*/ 17463 w 24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32"/>
                <a:gd name="T23" fmla="*/ 24 w 2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32">
                  <a:moveTo>
                    <a:pt x="8" y="0"/>
                  </a:moveTo>
                  <a:lnTo>
                    <a:pt x="0" y="8"/>
                  </a:lnTo>
                  <a:lnTo>
                    <a:pt x="0" y="24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24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0" name="Freeform 248">
              <a:extLst>
                <a:ext uri="{FF2B5EF4-FFF2-40B4-BE49-F238E27FC236}">
                  <a16:creationId xmlns:a16="http://schemas.microsoft.com/office/drawing/2014/main" id="{9EE50525-ECF8-3446-55A1-575B6E0B9ED6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1616076" y="3276601"/>
              <a:ext cx="69850" cy="74613"/>
            </a:xfrm>
            <a:custGeom>
              <a:avLst/>
              <a:gdLst>
                <a:gd name="T0" fmla="*/ 0 w 32"/>
                <a:gd name="T1" fmla="*/ 0 h 40"/>
                <a:gd name="T2" fmla="*/ 0 w 32"/>
                <a:gd name="T3" fmla="*/ 14923 h 40"/>
                <a:gd name="T4" fmla="*/ 17463 w 32"/>
                <a:gd name="T5" fmla="*/ 29845 h 40"/>
                <a:gd name="T6" fmla="*/ 17463 w 32"/>
                <a:gd name="T7" fmla="*/ 44768 h 40"/>
                <a:gd name="T8" fmla="*/ 34925 w 32"/>
                <a:gd name="T9" fmla="*/ 44768 h 40"/>
                <a:gd name="T10" fmla="*/ 34925 w 32"/>
                <a:gd name="T11" fmla="*/ 59690 h 40"/>
                <a:gd name="T12" fmla="*/ 52387 w 32"/>
                <a:gd name="T13" fmla="*/ 74613 h 40"/>
                <a:gd name="T14" fmla="*/ 69850 w 32"/>
                <a:gd name="T15" fmla="*/ 59690 h 40"/>
                <a:gd name="T16" fmla="*/ 52387 w 32"/>
                <a:gd name="T17" fmla="*/ 14923 h 40"/>
                <a:gd name="T18" fmla="*/ 0 w 32"/>
                <a:gd name="T19" fmla="*/ 0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40"/>
                <a:gd name="T32" fmla="*/ 32 w 32"/>
                <a:gd name="T33" fmla="*/ 40 h 4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40">
                  <a:moveTo>
                    <a:pt x="0" y="0"/>
                  </a:moveTo>
                  <a:lnTo>
                    <a:pt x="0" y="8"/>
                  </a:lnTo>
                  <a:lnTo>
                    <a:pt x="8" y="16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16" y="32"/>
                  </a:lnTo>
                  <a:lnTo>
                    <a:pt x="24" y="40"/>
                  </a:lnTo>
                  <a:lnTo>
                    <a:pt x="32" y="32"/>
                  </a:lnTo>
                  <a:lnTo>
                    <a:pt x="24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1" name="Freeform 249">
              <a:extLst>
                <a:ext uri="{FF2B5EF4-FFF2-40B4-BE49-F238E27FC236}">
                  <a16:creationId xmlns:a16="http://schemas.microsoft.com/office/drawing/2014/main" id="{9A0A11DC-79B4-3823-10CE-98AC272D987D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3535363" y="2509838"/>
              <a:ext cx="1158875" cy="531813"/>
            </a:xfrm>
            <a:custGeom>
              <a:avLst/>
              <a:gdLst>
                <a:gd name="T0" fmla="*/ 34593 w 536"/>
                <a:gd name="T1" fmla="*/ 103408 h 288"/>
                <a:gd name="T2" fmla="*/ 69187 w 536"/>
                <a:gd name="T3" fmla="*/ 118181 h 288"/>
                <a:gd name="T4" fmla="*/ 34593 w 536"/>
                <a:gd name="T5" fmla="*/ 132953 h 288"/>
                <a:gd name="T6" fmla="*/ 34593 w 536"/>
                <a:gd name="T7" fmla="*/ 147726 h 288"/>
                <a:gd name="T8" fmla="*/ 224856 w 536"/>
                <a:gd name="T9" fmla="*/ 147726 h 288"/>
                <a:gd name="T10" fmla="*/ 224856 w 536"/>
                <a:gd name="T11" fmla="*/ 177271 h 288"/>
                <a:gd name="T12" fmla="*/ 224856 w 536"/>
                <a:gd name="T13" fmla="*/ 206816 h 288"/>
                <a:gd name="T14" fmla="*/ 207560 w 536"/>
                <a:gd name="T15" fmla="*/ 236361 h 288"/>
                <a:gd name="T16" fmla="*/ 224856 w 536"/>
                <a:gd name="T17" fmla="*/ 251134 h 288"/>
                <a:gd name="T18" fmla="*/ 242153 w 536"/>
                <a:gd name="T19" fmla="*/ 251134 h 288"/>
                <a:gd name="T20" fmla="*/ 207560 w 536"/>
                <a:gd name="T21" fmla="*/ 265907 h 288"/>
                <a:gd name="T22" fmla="*/ 207560 w 536"/>
                <a:gd name="T23" fmla="*/ 295452 h 288"/>
                <a:gd name="T24" fmla="*/ 259450 w 536"/>
                <a:gd name="T25" fmla="*/ 295452 h 288"/>
                <a:gd name="T26" fmla="*/ 207560 w 536"/>
                <a:gd name="T27" fmla="*/ 310224 h 288"/>
                <a:gd name="T28" fmla="*/ 155670 w 536"/>
                <a:gd name="T29" fmla="*/ 384087 h 288"/>
                <a:gd name="T30" fmla="*/ 155670 w 536"/>
                <a:gd name="T31" fmla="*/ 413632 h 288"/>
                <a:gd name="T32" fmla="*/ 172966 w 536"/>
                <a:gd name="T33" fmla="*/ 443177 h 288"/>
                <a:gd name="T34" fmla="*/ 207560 w 536"/>
                <a:gd name="T35" fmla="*/ 502268 h 288"/>
                <a:gd name="T36" fmla="*/ 276746 w 536"/>
                <a:gd name="T37" fmla="*/ 531813 h 288"/>
                <a:gd name="T38" fmla="*/ 345933 w 536"/>
                <a:gd name="T39" fmla="*/ 472723 h 288"/>
                <a:gd name="T40" fmla="*/ 397823 w 536"/>
                <a:gd name="T41" fmla="*/ 443177 h 288"/>
                <a:gd name="T42" fmla="*/ 415119 w 536"/>
                <a:gd name="T43" fmla="*/ 398860 h 288"/>
                <a:gd name="T44" fmla="*/ 449713 w 536"/>
                <a:gd name="T45" fmla="*/ 384087 h 288"/>
                <a:gd name="T46" fmla="*/ 639976 w 536"/>
                <a:gd name="T47" fmla="*/ 324997 h 288"/>
                <a:gd name="T48" fmla="*/ 847535 w 536"/>
                <a:gd name="T49" fmla="*/ 280679 h 288"/>
                <a:gd name="T50" fmla="*/ 812942 w 536"/>
                <a:gd name="T51" fmla="*/ 265907 h 288"/>
                <a:gd name="T52" fmla="*/ 812942 w 536"/>
                <a:gd name="T53" fmla="*/ 265907 h 288"/>
                <a:gd name="T54" fmla="*/ 830239 w 536"/>
                <a:gd name="T55" fmla="*/ 251134 h 288"/>
                <a:gd name="T56" fmla="*/ 882129 w 536"/>
                <a:gd name="T57" fmla="*/ 265907 h 288"/>
                <a:gd name="T58" fmla="*/ 830239 w 536"/>
                <a:gd name="T59" fmla="*/ 221589 h 288"/>
                <a:gd name="T60" fmla="*/ 899425 w 536"/>
                <a:gd name="T61" fmla="*/ 221589 h 288"/>
                <a:gd name="T62" fmla="*/ 934018 w 536"/>
                <a:gd name="T63" fmla="*/ 206816 h 288"/>
                <a:gd name="T64" fmla="*/ 916722 w 536"/>
                <a:gd name="T65" fmla="*/ 192044 h 288"/>
                <a:gd name="T66" fmla="*/ 968612 w 536"/>
                <a:gd name="T67" fmla="*/ 177271 h 288"/>
                <a:gd name="T68" fmla="*/ 968612 w 536"/>
                <a:gd name="T69" fmla="*/ 147726 h 288"/>
                <a:gd name="T70" fmla="*/ 934018 w 536"/>
                <a:gd name="T71" fmla="*/ 132953 h 288"/>
                <a:gd name="T72" fmla="*/ 1003205 w 536"/>
                <a:gd name="T73" fmla="*/ 118181 h 288"/>
                <a:gd name="T74" fmla="*/ 1003205 w 536"/>
                <a:gd name="T75" fmla="*/ 103408 h 288"/>
                <a:gd name="T76" fmla="*/ 1072392 w 536"/>
                <a:gd name="T77" fmla="*/ 59090 h 288"/>
                <a:gd name="T78" fmla="*/ 1072392 w 536"/>
                <a:gd name="T79" fmla="*/ 29545 h 288"/>
                <a:gd name="T80" fmla="*/ 985908 w 536"/>
                <a:gd name="T81" fmla="*/ 29545 h 288"/>
                <a:gd name="T82" fmla="*/ 1020502 w 536"/>
                <a:gd name="T83" fmla="*/ 14773 h 288"/>
                <a:gd name="T84" fmla="*/ 622679 w 536"/>
                <a:gd name="T85" fmla="*/ 14773 h 288"/>
                <a:gd name="T86" fmla="*/ 415119 w 536"/>
                <a:gd name="T87" fmla="*/ 29545 h 288"/>
                <a:gd name="T88" fmla="*/ 294043 w 536"/>
                <a:gd name="T89" fmla="*/ 44318 h 288"/>
                <a:gd name="T90" fmla="*/ 242153 w 536"/>
                <a:gd name="T91" fmla="*/ 44318 h 288"/>
                <a:gd name="T92" fmla="*/ 190263 w 536"/>
                <a:gd name="T93" fmla="*/ 59090 h 288"/>
                <a:gd name="T94" fmla="*/ 155670 w 536"/>
                <a:gd name="T95" fmla="*/ 88635 h 288"/>
                <a:gd name="T96" fmla="*/ 0 w 536"/>
                <a:gd name="T97" fmla="*/ 103408 h 2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6"/>
                <a:gd name="T148" fmla="*/ 0 h 288"/>
                <a:gd name="T149" fmla="*/ 536 w 536"/>
                <a:gd name="T150" fmla="*/ 288 h 28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6" h="288">
                  <a:moveTo>
                    <a:pt x="0" y="56"/>
                  </a:moveTo>
                  <a:lnTo>
                    <a:pt x="16" y="56"/>
                  </a:lnTo>
                  <a:lnTo>
                    <a:pt x="16" y="64"/>
                  </a:lnTo>
                  <a:lnTo>
                    <a:pt x="32" y="64"/>
                  </a:lnTo>
                  <a:lnTo>
                    <a:pt x="0" y="72"/>
                  </a:lnTo>
                  <a:lnTo>
                    <a:pt x="16" y="72"/>
                  </a:lnTo>
                  <a:lnTo>
                    <a:pt x="8" y="72"/>
                  </a:lnTo>
                  <a:lnTo>
                    <a:pt x="16" y="80"/>
                  </a:lnTo>
                  <a:lnTo>
                    <a:pt x="72" y="80"/>
                  </a:lnTo>
                  <a:lnTo>
                    <a:pt x="104" y="80"/>
                  </a:lnTo>
                  <a:lnTo>
                    <a:pt x="96" y="88"/>
                  </a:lnTo>
                  <a:lnTo>
                    <a:pt x="104" y="96"/>
                  </a:lnTo>
                  <a:lnTo>
                    <a:pt x="104" y="104"/>
                  </a:lnTo>
                  <a:lnTo>
                    <a:pt x="104" y="112"/>
                  </a:lnTo>
                  <a:lnTo>
                    <a:pt x="96" y="120"/>
                  </a:lnTo>
                  <a:lnTo>
                    <a:pt x="96" y="128"/>
                  </a:lnTo>
                  <a:lnTo>
                    <a:pt x="88" y="128"/>
                  </a:lnTo>
                  <a:lnTo>
                    <a:pt x="104" y="136"/>
                  </a:lnTo>
                  <a:lnTo>
                    <a:pt x="112" y="128"/>
                  </a:lnTo>
                  <a:lnTo>
                    <a:pt x="112" y="136"/>
                  </a:lnTo>
                  <a:lnTo>
                    <a:pt x="128" y="144"/>
                  </a:lnTo>
                  <a:lnTo>
                    <a:pt x="96" y="144"/>
                  </a:lnTo>
                  <a:lnTo>
                    <a:pt x="80" y="160"/>
                  </a:lnTo>
                  <a:lnTo>
                    <a:pt x="96" y="160"/>
                  </a:lnTo>
                  <a:lnTo>
                    <a:pt x="120" y="152"/>
                  </a:lnTo>
                  <a:lnTo>
                    <a:pt x="120" y="160"/>
                  </a:lnTo>
                  <a:lnTo>
                    <a:pt x="112" y="168"/>
                  </a:lnTo>
                  <a:lnTo>
                    <a:pt x="96" y="168"/>
                  </a:lnTo>
                  <a:lnTo>
                    <a:pt x="88" y="176"/>
                  </a:lnTo>
                  <a:lnTo>
                    <a:pt x="72" y="208"/>
                  </a:lnTo>
                  <a:lnTo>
                    <a:pt x="80" y="208"/>
                  </a:lnTo>
                  <a:lnTo>
                    <a:pt x="72" y="224"/>
                  </a:lnTo>
                  <a:lnTo>
                    <a:pt x="80" y="232"/>
                  </a:lnTo>
                  <a:lnTo>
                    <a:pt x="80" y="240"/>
                  </a:lnTo>
                  <a:lnTo>
                    <a:pt x="88" y="264"/>
                  </a:lnTo>
                  <a:lnTo>
                    <a:pt x="96" y="272"/>
                  </a:lnTo>
                  <a:lnTo>
                    <a:pt x="112" y="280"/>
                  </a:lnTo>
                  <a:lnTo>
                    <a:pt x="128" y="288"/>
                  </a:lnTo>
                  <a:lnTo>
                    <a:pt x="136" y="288"/>
                  </a:lnTo>
                  <a:lnTo>
                    <a:pt x="160" y="256"/>
                  </a:lnTo>
                  <a:lnTo>
                    <a:pt x="160" y="248"/>
                  </a:lnTo>
                  <a:lnTo>
                    <a:pt x="184" y="240"/>
                  </a:lnTo>
                  <a:lnTo>
                    <a:pt x="192" y="224"/>
                  </a:lnTo>
                  <a:lnTo>
                    <a:pt x="192" y="216"/>
                  </a:lnTo>
                  <a:lnTo>
                    <a:pt x="200" y="216"/>
                  </a:lnTo>
                  <a:lnTo>
                    <a:pt x="208" y="208"/>
                  </a:lnTo>
                  <a:lnTo>
                    <a:pt x="248" y="208"/>
                  </a:lnTo>
                  <a:lnTo>
                    <a:pt x="296" y="176"/>
                  </a:lnTo>
                  <a:lnTo>
                    <a:pt x="352" y="168"/>
                  </a:lnTo>
                  <a:lnTo>
                    <a:pt x="392" y="152"/>
                  </a:lnTo>
                  <a:lnTo>
                    <a:pt x="400" y="152"/>
                  </a:lnTo>
                  <a:lnTo>
                    <a:pt x="376" y="144"/>
                  </a:lnTo>
                  <a:lnTo>
                    <a:pt x="360" y="152"/>
                  </a:lnTo>
                  <a:lnTo>
                    <a:pt x="376" y="144"/>
                  </a:lnTo>
                  <a:lnTo>
                    <a:pt x="376" y="136"/>
                  </a:lnTo>
                  <a:lnTo>
                    <a:pt x="384" y="136"/>
                  </a:lnTo>
                  <a:lnTo>
                    <a:pt x="384" y="144"/>
                  </a:lnTo>
                  <a:lnTo>
                    <a:pt x="408" y="144"/>
                  </a:lnTo>
                  <a:lnTo>
                    <a:pt x="408" y="136"/>
                  </a:lnTo>
                  <a:lnTo>
                    <a:pt x="384" y="120"/>
                  </a:lnTo>
                  <a:lnTo>
                    <a:pt x="408" y="128"/>
                  </a:lnTo>
                  <a:lnTo>
                    <a:pt x="416" y="120"/>
                  </a:lnTo>
                  <a:lnTo>
                    <a:pt x="408" y="112"/>
                  </a:lnTo>
                  <a:lnTo>
                    <a:pt x="432" y="112"/>
                  </a:lnTo>
                  <a:lnTo>
                    <a:pt x="432" y="104"/>
                  </a:lnTo>
                  <a:lnTo>
                    <a:pt x="424" y="104"/>
                  </a:lnTo>
                  <a:lnTo>
                    <a:pt x="440" y="104"/>
                  </a:lnTo>
                  <a:lnTo>
                    <a:pt x="448" y="96"/>
                  </a:lnTo>
                  <a:lnTo>
                    <a:pt x="440" y="96"/>
                  </a:lnTo>
                  <a:lnTo>
                    <a:pt x="448" y="80"/>
                  </a:lnTo>
                  <a:lnTo>
                    <a:pt x="432" y="80"/>
                  </a:lnTo>
                  <a:lnTo>
                    <a:pt x="432" y="72"/>
                  </a:lnTo>
                  <a:lnTo>
                    <a:pt x="464" y="72"/>
                  </a:lnTo>
                  <a:lnTo>
                    <a:pt x="464" y="64"/>
                  </a:lnTo>
                  <a:lnTo>
                    <a:pt x="456" y="56"/>
                  </a:lnTo>
                  <a:lnTo>
                    <a:pt x="464" y="56"/>
                  </a:lnTo>
                  <a:lnTo>
                    <a:pt x="464" y="48"/>
                  </a:lnTo>
                  <a:lnTo>
                    <a:pt x="496" y="32"/>
                  </a:lnTo>
                  <a:lnTo>
                    <a:pt x="536" y="24"/>
                  </a:lnTo>
                  <a:lnTo>
                    <a:pt x="496" y="16"/>
                  </a:lnTo>
                  <a:lnTo>
                    <a:pt x="424" y="24"/>
                  </a:lnTo>
                  <a:lnTo>
                    <a:pt x="456" y="16"/>
                  </a:lnTo>
                  <a:lnTo>
                    <a:pt x="424" y="16"/>
                  </a:lnTo>
                  <a:lnTo>
                    <a:pt x="472" y="8"/>
                  </a:lnTo>
                  <a:lnTo>
                    <a:pt x="416" y="0"/>
                  </a:lnTo>
                  <a:lnTo>
                    <a:pt x="288" y="8"/>
                  </a:lnTo>
                  <a:lnTo>
                    <a:pt x="216" y="16"/>
                  </a:lnTo>
                  <a:lnTo>
                    <a:pt x="192" y="16"/>
                  </a:lnTo>
                  <a:lnTo>
                    <a:pt x="128" y="16"/>
                  </a:lnTo>
                  <a:lnTo>
                    <a:pt x="136" y="24"/>
                  </a:lnTo>
                  <a:lnTo>
                    <a:pt x="128" y="24"/>
                  </a:lnTo>
                  <a:lnTo>
                    <a:pt x="112" y="24"/>
                  </a:lnTo>
                  <a:lnTo>
                    <a:pt x="64" y="32"/>
                  </a:lnTo>
                  <a:lnTo>
                    <a:pt x="88" y="32"/>
                  </a:lnTo>
                  <a:lnTo>
                    <a:pt x="88" y="40"/>
                  </a:lnTo>
                  <a:lnTo>
                    <a:pt x="72" y="48"/>
                  </a:lnTo>
                  <a:lnTo>
                    <a:pt x="8" y="48"/>
                  </a:lnTo>
                  <a:lnTo>
                    <a:pt x="0" y="5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2" name="Freeform 250">
              <a:extLst>
                <a:ext uri="{FF2B5EF4-FFF2-40B4-BE49-F238E27FC236}">
                  <a16:creationId xmlns:a16="http://schemas.microsoft.com/office/drawing/2014/main" id="{86D4671B-C923-B3CB-4C0E-99AAA5DCFEA5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4313238" y="2878138"/>
              <a:ext cx="242888" cy="74613"/>
            </a:xfrm>
            <a:custGeom>
              <a:avLst/>
              <a:gdLst>
                <a:gd name="T0" fmla="*/ 0 w 112"/>
                <a:gd name="T1" fmla="*/ 14923 h 40"/>
                <a:gd name="T2" fmla="*/ 52047 w 112"/>
                <a:gd name="T3" fmla="*/ 29845 h 40"/>
                <a:gd name="T4" fmla="*/ 0 w 112"/>
                <a:gd name="T5" fmla="*/ 44768 h 40"/>
                <a:gd name="T6" fmla="*/ 34698 w 112"/>
                <a:gd name="T7" fmla="*/ 44768 h 40"/>
                <a:gd name="T8" fmla="*/ 52047 w 112"/>
                <a:gd name="T9" fmla="*/ 44768 h 40"/>
                <a:gd name="T10" fmla="*/ 17349 w 112"/>
                <a:gd name="T11" fmla="*/ 59690 h 40"/>
                <a:gd name="T12" fmla="*/ 104095 w 112"/>
                <a:gd name="T13" fmla="*/ 74613 h 40"/>
                <a:gd name="T14" fmla="*/ 208190 w 112"/>
                <a:gd name="T15" fmla="*/ 44768 h 40"/>
                <a:gd name="T16" fmla="*/ 225539 w 112"/>
                <a:gd name="T17" fmla="*/ 29845 h 40"/>
                <a:gd name="T18" fmla="*/ 242888 w 112"/>
                <a:gd name="T19" fmla="*/ 14923 h 40"/>
                <a:gd name="T20" fmla="*/ 225539 w 112"/>
                <a:gd name="T21" fmla="*/ 14923 h 40"/>
                <a:gd name="T22" fmla="*/ 225539 w 112"/>
                <a:gd name="T23" fmla="*/ 0 h 40"/>
                <a:gd name="T24" fmla="*/ 190841 w 112"/>
                <a:gd name="T25" fmla="*/ 0 h 40"/>
                <a:gd name="T26" fmla="*/ 156142 w 112"/>
                <a:gd name="T27" fmla="*/ 14923 h 40"/>
                <a:gd name="T28" fmla="*/ 104095 w 112"/>
                <a:gd name="T29" fmla="*/ 14923 h 40"/>
                <a:gd name="T30" fmla="*/ 104095 w 112"/>
                <a:gd name="T31" fmla="*/ 0 h 40"/>
                <a:gd name="T32" fmla="*/ 86746 w 112"/>
                <a:gd name="T33" fmla="*/ 14923 h 40"/>
                <a:gd name="T34" fmla="*/ 69397 w 112"/>
                <a:gd name="T35" fmla="*/ 29845 h 40"/>
                <a:gd name="T36" fmla="*/ 69397 w 112"/>
                <a:gd name="T37" fmla="*/ 14923 h 40"/>
                <a:gd name="T38" fmla="*/ 34698 w 112"/>
                <a:gd name="T39" fmla="*/ 0 h 40"/>
                <a:gd name="T40" fmla="*/ 0 w 112"/>
                <a:gd name="T41" fmla="*/ 14923 h 4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2"/>
                <a:gd name="T64" fmla="*/ 0 h 40"/>
                <a:gd name="T65" fmla="*/ 112 w 112"/>
                <a:gd name="T66" fmla="*/ 40 h 4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2" h="40">
                  <a:moveTo>
                    <a:pt x="0" y="8"/>
                  </a:moveTo>
                  <a:lnTo>
                    <a:pt x="24" y="16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24" y="24"/>
                  </a:lnTo>
                  <a:lnTo>
                    <a:pt x="8" y="32"/>
                  </a:lnTo>
                  <a:lnTo>
                    <a:pt x="48" y="40"/>
                  </a:lnTo>
                  <a:lnTo>
                    <a:pt x="96" y="24"/>
                  </a:lnTo>
                  <a:lnTo>
                    <a:pt x="104" y="16"/>
                  </a:lnTo>
                  <a:lnTo>
                    <a:pt x="112" y="8"/>
                  </a:lnTo>
                  <a:lnTo>
                    <a:pt x="104" y="8"/>
                  </a:lnTo>
                  <a:lnTo>
                    <a:pt x="104" y="0"/>
                  </a:lnTo>
                  <a:lnTo>
                    <a:pt x="88" y="0"/>
                  </a:lnTo>
                  <a:lnTo>
                    <a:pt x="72" y="8"/>
                  </a:lnTo>
                  <a:lnTo>
                    <a:pt x="48" y="8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32" y="16"/>
                  </a:lnTo>
                  <a:lnTo>
                    <a:pt x="32" y="8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3" name="Line 251">
              <a:extLst>
                <a:ext uri="{FF2B5EF4-FFF2-40B4-BE49-F238E27FC236}">
                  <a16:creationId xmlns:a16="http://schemas.microsoft.com/office/drawing/2014/main" id="{CCD17C04-BACE-4800-FCEE-B92D792454E2}"/>
                </a:ext>
              </a:extLst>
            </p:cNvPr>
            <p:cNvSpPr>
              <a:spLocks noChangeShapeType="1"/>
            </p:cNvSpPr>
            <p:nvPr>
              <p:custDataLst>
                <p:tags r:id="rId216"/>
              </p:custDataLst>
            </p:nvPr>
          </p:nvSpPr>
          <p:spPr bwMode="auto">
            <a:xfrm flipV="1">
              <a:off x="4676776" y="2774951"/>
              <a:ext cx="17463" cy="15875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4" name="Line 252">
              <a:extLst>
                <a:ext uri="{FF2B5EF4-FFF2-40B4-BE49-F238E27FC236}">
                  <a16:creationId xmlns:a16="http://schemas.microsoft.com/office/drawing/2014/main" id="{70AAEF4E-0292-636C-D6D1-BA519A7FDD90}"/>
                </a:ext>
              </a:extLst>
            </p:cNvPr>
            <p:cNvSpPr>
              <a:spLocks noChangeShapeType="1"/>
            </p:cNvSpPr>
            <p:nvPr>
              <p:custDataLst>
                <p:tags r:id="rId217"/>
              </p:custDataLst>
            </p:nvPr>
          </p:nvSpPr>
          <p:spPr bwMode="auto">
            <a:xfrm>
              <a:off x="4503738" y="2687638"/>
              <a:ext cx="17463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5" name="Freeform 253">
              <a:extLst>
                <a:ext uri="{FF2B5EF4-FFF2-40B4-BE49-F238E27FC236}">
                  <a16:creationId xmlns:a16="http://schemas.microsoft.com/office/drawing/2014/main" id="{B239A22E-E251-235D-97C1-72528CB1E7EC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6007101" y="5032376"/>
              <a:ext cx="207963" cy="369888"/>
            </a:xfrm>
            <a:custGeom>
              <a:avLst/>
              <a:gdLst>
                <a:gd name="T0" fmla="*/ 0 w 96"/>
                <a:gd name="T1" fmla="*/ 266319 h 200"/>
                <a:gd name="T2" fmla="*/ 0 w 96"/>
                <a:gd name="T3" fmla="*/ 340297 h 200"/>
                <a:gd name="T4" fmla="*/ 17330 w 96"/>
                <a:gd name="T5" fmla="*/ 369888 h 200"/>
                <a:gd name="T6" fmla="*/ 34661 w 96"/>
                <a:gd name="T7" fmla="*/ 369888 h 200"/>
                <a:gd name="T8" fmla="*/ 86651 w 96"/>
                <a:gd name="T9" fmla="*/ 355092 h 200"/>
                <a:gd name="T10" fmla="*/ 103982 w 96"/>
                <a:gd name="T11" fmla="*/ 355092 h 200"/>
                <a:gd name="T12" fmla="*/ 173303 w 96"/>
                <a:gd name="T13" fmla="*/ 177546 h 200"/>
                <a:gd name="T14" fmla="*/ 190633 w 96"/>
                <a:gd name="T15" fmla="*/ 88773 h 200"/>
                <a:gd name="T16" fmla="*/ 190633 w 96"/>
                <a:gd name="T17" fmla="*/ 103569 h 200"/>
                <a:gd name="T18" fmla="*/ 207963 w 96"/>
                <a:gd name="T19" fmla="*/ 88773 h 200"/>
                <a:gd name="T20" fmla="*/ 190633 w 96"/>
                <a:gd name="T21" fmla="*/ 14796 h 200"/>
                <a:gd name="T22" fmla="*/ 173303 w 96"/>
                <a:gd name="T23" fmla="*/ 0 h 200"/>
                <a:gd name="T24" fmla="*/ 155972 w 96"/>
                <a:gd name="T25" fmla="*/ 29591 h 200"/>
                <a:gd name="T26" fmla="*/ 138642 w 96"/>
                <a:gd name="T27" fmla="*/ 44387 h 200"/>
                <a:gd name="T28" fmla="*/ 138642 w 96"/>
                <a:gd name="T29" fmla="*/ 73978 h 200"/>
                <a:gd name="T30" fmla="*/ 34661 w 96"/>
                <a:gd name="T31" fmla="*/ 103569 h 200"/>
                <a:gd name="T32" fmla="*/ 17330 w 96"/>
                <a:gd name="T33" fmla="*/ 147955 h 200"/>
                <a:gd name="T34" fmla="*/ 34661 w 96"/>
                <a:gd name="T35" fmla="*/ 221933 h 200"/>
                <a:gd name="T36" fmla="*/ 0 w 96"/>
                <a:gd name="T37" fmla="*/ 266319 h 20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6"/>
                <a:gd name="T58" fmla="*/ 0 h 200"/>
                <a:gd name="T59" fmla="*/ 96 w 96"/>
                <a:gd name="T60" fmla="*/ 200 h 20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6" h="200">
                  <a:moveTo>
                    <a:pt x="0" y="144"/>
                  </a:moveTo>
                  <a:lnTo>
                    <a:pt x="0" y="184"/>
                  </a:lnTo>
                  <a:lnTo>
                    <a:pt x="8" y="200"/>
                  </a:lnTo>
                  <a:lnTo>
                    <a:pt x="16" y="200"/>
                  </a:lnTo>
                  <a:lnTo>
                    <a:pt x="40" y="192"/>
                  </a:lnTo>
                  <a:lnTo>
                    <a:pt x="48" y="192"/>
                  </a:lnTo>
                  <a:lnTo>
                    <a:pt x="80" y="96"/>
                  </a:lnTo>
                  <a:lnTo>
                    <a:pt x="88" y="48"/>
                  </a:lnTo>
                  <a:lnTo>
                    <a:pt x="88" y="56"/>
                  </a:lnTo>
                  <a:lnTo>
                    <a:pt x="96" y="48"/>
                  </a:lnTo>
                  <a:lnTo>
                    <a:pt x="88" y="8"/>
                  </a:lnTo>
                  <a:lnTo>
                    <a:pt x="80" y="0"/>
                  </a:lnTo>
                  <a:lnTo>
                    <a:pt x="72" y="16"/>
                  </a:lnTo>
                  <a:lnTo>
                    <a:pt x="64" y="24"/>
                  </a:lnTo>
                  <a:lnTo>
                    <a:pt x="64" y="40"/>
                  </a:lnTo>
                  <a:lnTo>
                    <a:pt x="16" y="56"/>
                  </a:lnTo>
                  <a:lnTo>
                    <a:pt x="8" y="80"/>
                  </a:lnTo>
                  <a:lnTo>
                    <a:pt x="16" y="120"/>
                  </a:lnTo>
                  <a:lnTo>
                    <a:pt x="0" y="14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6" name="Freeform 254">
              <a:extLst>
                <a:ext uri="{FF2B5EF4-FFF2-40B4-BE49-F238E27FC236}">
                  <a16:creationId xmlns:a16="http://schemas.microsoft.com/office/drawing/2014/main" id="{A1B48F91-3424-8263-9818-91BC4927C126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6302376" y="4338638"/>
              <a:ext cx="33338" cy="15875"/>
            </a:xfrm>
            <a:custGeom>
              <a:avLst/>
              <a:gdLst>
                <a:gd name="T0" fmla="*/ 0 w 16"/>
                <a:gd name="T1" fmla="*/ 0 h 8"/>
                <a:gd name="T2" fmla="*/ 16669 w 16"/>
                <a:gd name="T3" fmla="*/ 15875 h 8"/>
                <a:gd name="T4" fmla="*/ 33338 w 16"/>
                <a:gd name="T5" fmla="*/ 0 h 8"/>
                <a:gd name="T6" fmla="*/ 16669 w 16"/>
                <a:gd name="T7" fmla="*/ 0 h 8"/>
                <a:gd name="T8" fmla="*/ 0 w 1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0" y="0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7" name="Line 255">
              <a:extLst>
                <a:ext uri="{FF2B5EF4-FFF2-40B4-BE49-F238E27FC236}">
                  <a16:creationId xmlns:a16="http://schemas.microsoft.com/office/drawing/2014/main" id="{8A589069-A2B9-F1D3-CC9B-67D708897EF2}"/>
                </a:ext>
              </a:extLst>
            </p:cNvPr>
            <p:cNvSpPr>
              <a:spLocks noChangeShapeType="1"/>
            </p:cNvSpPr>
            <p:nvPr>
              <p:custDataLst>
                <p:tags r:id="rId220"/>
              </p:custDataLst>
            </p:nvPr>
          </p:nvSpPr>
          <p:spPr bwMode="auto">
            <a:xfrm>
              <a:off x="7442201" y="4338638"/>
              <a:ext cx="3175" cy="30163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8" name="Line 256">
              <a:extLst>
                <a:ext uri="{FF2B5EF4-FFF2-40B4-BE49-F238E27FC236}">
                  <a16:creationId xmlns:a16="http://schemas.microsoft.com/office/drawing/2014/main" id="{37363EC2-E78D-DB03-7309-E1615A1C2E0B}"/>
                </a:ext>
              </a:extLst>
            </p:cNvPr>
            <p:cNvSpPr>
              <a:spLocks noChangeShapeType="1"/>
            </p:cNvSpPr>
            <p:nvPr>
              <p:custDataLst>
                <p:tags r:id="rId221"/>
              </p:custDataLst>
            </p:nvPr>
          </p:nvSpPr>
          <p:spPr bwMode="auto">
            <a:xfrm>
              <a:off x="7546976" y="4633913"/>
              <a:ext cx="17463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9" name="Freeform 257">
              <a:extLst>
                <a:ext uri="{FF2B5EF4-FFF2-40B4-BE49-F238E27FC236}">
                  <a16:creationId xmlns:a16="http://schemas.microsoft.com/office/drawing/2014/main" id="{AC55CE6A-81E7-A58B-01DB-39A4FFB450D1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7581901" y="4649788"/>
              <a:ext cx="17463" cy="28575"/>
            </a:xfrm>
            <a:custGeom>
              <a:avLst/>
              <a:gdLst>
                <a:gd name="T0" fmla="*/ 0 w 8"/>
                <a:gd name="T1" fmla="*/ 0 h 16"/>
                <a:gd name="T2" fmla="*/ 17463 w 8"/>
                <a:gd name="T3" fmla="*/ 28575 h 16"/>
                <a:gd name="T4" fmla="*/ 17463 w 8"/>
                <a:gd name="T5" fmla="*/ 14288 h 16"/>
                <a:gd name="T6" fmla="*/ 0 w 8"/>
                <a:gd name="T7" fmla="*/ 0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6"/>
                <a:gd name="T14" fmla="*/ 8 w 8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6">
                  <a:moveTo>
                    <a:pt x="0" y="0"/>
                  </a:moveTo>
                  <a:lnTo>
                    <a:pt x="8" y="16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0" name="Freeform 258">
              <a:extLst>
                <a:ext uri="{FF2B5EF4-FFF2-40B4-BE49-F238E27FC236}">
                  <a16:creationId xmlns:a16="http://schemas.microsoft.com/office/drawing/2014/main" id="{B0F3383D-A7BF-9823-AA29-2D81FDEBF6C2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7632701" y="4722813"/>
              <a:ext cx="17463" cy="14288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14288 h 8"/>
                <a:gd name="T4" fmla="*/ 17463 w 8"/>
                <a:gd name="T5" fmla="*/ 14288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0" y="8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1" name="Freeform 259">
              <a:extLst>
                <a:ext uri="{FF2B5EF4-FFF2-40B4-BE49-F238E27FC236}">
                  <a16:creationId xmlns:a16="http://schemas.microsoft.com/office/drawing/2014/main" id="{01A19DFD-E027-7D27-58DB-3B8DA4A5FA64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7062788" y="4413251"/>
              <a:ext cx="68263" cy="103188"/>
            </a:xfrm>
            <a:custGeom>
              <a:avLst/>
              <a:gdLst>
                <a:gd name="T0" fmla="*/ 0 w 32"/>
                <a:gd name="T1" fmla="*/ 58965 h 56"/>
                <a:gd name="T2" fmla="*/ 17066 w 32"/>
                <a:gd name="T3" fmla="*/ 103188 h 56"/>
                <a:gd name="T4" fmla="*/ 51197 w 32"/>
                <a:gd name="T5" fmla="*/ 103188 h 56"/>
                <a:gd name="T6" fmla="*/ 68263 w 32"/>
                <a:gd name="T7" fmla="*/ 103188 h 56"/>
                <a:gd name="T8" fmla="*/ 68263 w 32"/>
                <a:gd name="T9" fmla="*/ 58965 h 56"/>
                <a:gd name="T10" fmla="*/ 34132 w 32"/>
                <a:gd name="T11" fmla="*/ 14741 h 56"/>
                <a:gd name="T12" fmla="*/ 17066 w 32"/>
                <a:gd name="T13" fmla="*/ 0 h 56"/>
                <a:gd name="T14" fmla="*/ 17066 w 32"/>
                <a:gd name="T15" fmla="*/ 14741 h 56"/>
                <a:gd name="T16" fmla="*/ 0 w 32"/>
                <a:gd name="T17" fmla="*/ 58965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56"/>
                <a:gd name="T29" fmla="*/ 32 w 32"/>
                <a:gd name="T30" fmla="*/ 56 h 5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56">
                  <a:moveTo>
                    <a:pt x="0" y="32"/>
                  </a:moveTo>
                  <a:lnTo>
                    <a:pt x="8" y="56"/>
                  </a:lnTo>
                  <a:lnTo>
                    <a:pt x="24" y="56"/>
                  </a:lnTo>
                  <a:lnTo>
                    <a:pt x="32" y="56"/>
                  </a:lnTo>
                  <a:lnTo>
                    <a:pt x="32" y="32"/>
                  </a:lnTo>
                  <a:lnTo>
                    <a:pt x="16" y="8"/>
                  </a:lnTo>
                  <a:lnTo>
                    <a:pt x="8" y="0"/>
                  </a:lnTo>
                  <a:lnTo>
                    <a:pt x="8" y="8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2" name="Freeform 260">
              <a:extLst>
                <a:ext uri="{FF2B5EF4-FFF2-40B4-BE49-F238E27FC236}">
                  <a16:creationId xmlns:a16="http://schemas.microsoft.com/office/drawing/2014/main" id="{7EF5AADB-5FFF-0073-9F26-5CFBEA259D71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858126" y="4132263"/>
              <a:ext cx="68263" cy="44450"/>
            </a:xfrm>
            <a:custGeom>
              <a:avLst/>
              <a:gdLst>
                <a:gd name="T0" fmla="*/ 0 w 32"/>
                <a:gd name="T1" fmla="*/ 14817 h 24"/>
                <a:gd name="T2" fmla="*/ 17066 w 32"/>
                <a:gd name="T3" fmla="*/ 44450 h 24"/>
                <a:gd name="T4" fmla="*/ 34132 w 32"/>
                <a:gd name="T5" fmla="*/ 44450 h 24"/>
                <a:gd name="T6" fmla="*/ 68263 w 32"/>
                <a:gd name="T7" fmla="*/ 29633 h 24"/>
                <a:gd name="T8" fmla="*/ 68263 w 32"/>
                <a:gd name="T9" fmla="*/ 0 h 24"/>
                <a:gd name="T10" fmla="*/ 34132 w 32"/>
                <a:gd name="T11" fmla="*/ 0 h 24"/>
                <a:gd name="T12" fmla="*/ 0 w 32"/>
                <a:gd name="T13" fmla="*/ 14817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24"/>
                <a:gd name="T23" fmla="*/ 32 w 32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24">
                  <a:moveTo>
                    <a:pt x="0" y="8"/>
                  </a:moveTo>
                  <a:lnTo>
                    <a:pt x="8" y="24"/>
                  </a:lnTo>
                  <a:lnTo>
                    <a:pt x="16" y="24"/>
                  </a:lnTo>
                  <a:lnTo>
                    <a:pt x="32" y="16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3" name="Freeform 261">
              <a:extLst>
                <a:ext uri="{FF2B5EF4-FFF2-40B4-BE49-F238E27FC236}">
                  <a16:creationId xmlns:a16="http://schemas.microsoft.com/office/drawing/2014/main" id="{66F6F7A4-6F7F-6371-70AB-AAD7BD90397D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169276" y="3984626"/>
              <a:ext cx="34925" cy="88900"/>
            </a:xfrm>
            <a:custGeom>
              <a:avLst/>
              <a:gdLst>
                <a:gd name="T0" fmla="*/ 0 w 16"/>
                <a:gd name="T1" fmla="*/ 44450 h 48"/>
                <a:gd name="T2" fmla="*/ 17463 w 16"/>
                <a:gd name="T3" fmla="*/ 74083 h 48"/>
                <a:gd name="T4" fmla="*/ 34925 w 16"/>
                <a:gd name="T5" fmla="*/ 88900 h 48"/>
                <a:gd name="T6" fmla="*/ 34925 w 16"/>
                <a:gd name="T7" fmla="*/ 0 h 48"/>
                <a:gd name="T8" fmla="*/ 17463 w 16"/>
                <a:gd name="T9" fmla="*/ 14817 h 48"/>
                <a:gd name="T10" fmla="*/ 0 w 16"/>
                <a:gd name="T11" fmla="*/ 4445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48"/>
                <a:gd name="T20" fmla="*/ 16 w 16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48">
                  <a:moveTo>
                    <a:pt x="0" y="24"/>
                  </a:moveTo>
                  <a:lnTo>
                    <a:pt x="8" y="40"/>
                  </a:lnTo>
                  <a:lnTo>
                    <a:pt x="16" y="48"/>
                  </a:lnTo>
                  <a:lnTo>
                    <a:pt x="16" y="0"/>
                  </a:lnTo>
                  <a:lnTo>
                    <a:pt x="8" y="8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4" name="Freeform 262">
              <a:extLst>
                <a:ext uri="{FF2B5EF4-FFF2-40B4-BE49-F238E27FC236}">
                  <a16:creationId xmlns:a16="http://schemas.microsoft.com/office/drawing/2014/main" id="{8BE8FCD3-93E6-D22D-1D55-ADF53E719E3A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342313" y="3749676"/>
              <a:ext cx="68263" cy="73025"/>
            </a:xfrm>
            <a:custGeom>
              <a:avLst/>
              <a:gdLst>
                <a:gd name="T0" fmla="*/ 0 w 32"/>
                <a:gd name="T1" fmla="*/ 14605 h 40"/>
                <a:gd name="T2" fmla="*/ 17066 w 32"/>
                <a:gd name="T3" fmla="*/ 29210 h 40"/>
                <a:gd name="T4" fmla="*/ 17066 w 32"/>
                <a:gd name="T5" fmla="*/ 14605 h 40"/>
                <a:gd name="T6" fmla="*/ 34132 w 32"/>
                <a:gd name="T7" fmla="*/ 29210 h 40"/>
                <a:gd name="T8" fmla="*/ 34132 w 32"/>
                <a:gd name="T9" fmla="*/ 73025 h 40"/>
                <a:gd name="T10" fmla="*/ 51197 w 32"/>
                <a:gd name="T11" fmla="*/ 73025 h 40"/>
                <a:gd name="T12" fmla="*/ 68263 w 32"/>
                <a:gd name="T13" fmla="*/ 58420 h 40"/>
                <a:gd name="T14" fmla="*/ 68263 w 32"/>
                <a:gd name="T15" fmla="*/ 29210 h 40"/>
                <a:gd name="T16" fmla="*/ 51197 w 32"/>
                <a:gd name="T17" fmla="*/ 0 h 40"/>
                <a:gd name="T18" fmla="*/ 17066 w 32"/>
                <a:gd name="T19" fmla="*/ 0 h 40"/>
                <a:gd name="T20" fmla="*/ 0 w 32"/>
                <a:gd name="T21" fmla="*/ 14605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40"/>
                <a:gd name="T35" fmla="*/ 32 w 32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40">
                  <a:moveTo>
                    <a:pt x="0" y="8"/>
                  </a:moveTo>
                  <a:lnTo>
                    <a:pt x="8" y="16"/>
                  </a:lnTo>
                  <a:lnTo>
                    <a:pt x="8" y="8"/>
                  </a:lnTo>
                  <a:lnTo>
                    <a:pt x="16" y="16"/>
                  </a:lnTo>
                  <a:lnTo>
                    <a:pt x="16" y="40"/>
                  </a:lnTo>
                  <a:lnTo>
                    <a:pt x="24" y="40"/>
                  </a:lnTo>
                  <a:lnTo>
                    <a:pt x="32" y="32"/>
                  </a:lnTo>
                  <a:lnTo>
                    <a:pt x="32" y="16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5" name="Freeform 263">
              <a:extLst>
                <a:ext uri="{FF2B5EF4-FFF2-40B4-BE49-F238E27FC236}">
                  <a16:creationId xmlns:a16="http://schemas.microsoft.com/office/drawing/2014/main" id="{77A5A9A4-2993-644B-D3B2-768573747681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410576" y="3733801"/>
              <a:ext cx="69850" cy="44450"/>
            </a:xfrm>
            <a:custGeom>
              <a:avLst/>
              <a:gdLst>
                <a:gd name="T0" fmla="*/ 0 w 32"/>
                <a:gd name="T1" fmla="*/ 29633 h 24"/>
                <a:gd name="T2" fmla="*/ 34925 w 32"/>
                <a:gd name="T3" fmla="*/ 44450 h 24"/>
                <a:gd name="T4" fmla="*/ 34925 w 32"/>
                <a:gd name="T5" fmla="*/ 29633 h 24"/>
                <a:gd name="T6" fmla="*/ 34925 w 32"/>
                <a:gd name="T7" fmla="*/ 14817 h 24"/>
                <a:gd name="T8" fmla="*/ 52387 w 32"/>
                <a:gd name="T9" fmla="*/ 29633 h 24"/>
                <a:gd name="T10" fmla="*/ 69850 w 32"/>
                <a:gd name="T11" fmla="*/ 14817 h 24"/>
                <a:gd name="T12" fmla="*/ 52387 w 32"/>
                <a:gd name="T13" fmla="*/ 0 h 24"/>
                <a:gd name="T14" fmla="*/ 34925 w 32"/>
                <a:gd name="T15" fmla="*/ 0 h 24"/>
                <a:gd name="T16" fmla="*/ 34925 w 32"/>
                <a:gd name="T17" fmla="*/ 14817 h 24"/>
                <a:gd name="T18" fmla="*/ 17463 w 32"/>
                <a:gd name="T19" fmla="*/ 0 h 24"/>
                <a:gd name="T20" fmla="*/ 0 w 32"/>
                <a:gd name="T21" fmla="*/ 29633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24"/>
                <a:gd name="T35" fmla="*/ 32 w 32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24">
                  <a:moveTo>
                    <a:pt x="0" y="16"/>
                  </a:moveTo>
                  <a:lnTo>
                    <a:pt x="16" y="24"/>
                  </a:lnTo>
                  <a:lnTo>
                    <a:pt x="16" y="16"/>
                  </a:lnTo>
                  <a:lnTo>
                    <a:pt x="16" y="8"/>
                  </a:lnTo>
                  <a:lnTo>
                    <a:pt x="24" y="16"/>
                  </a:lnTo>
                  <a:lnTo>
                    <a:pt x="32" y="8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6" name="Freeform 264">
              <a:extLst>
                <a:ext uri="{FF2B5EF4-FFF2-40B4-BE49-F238E27FC236}">
                  <a16:creationId xmlns:a16="http://schemas.microsoft.com/office/drawing/2014/main" id="{C27A13C4-7BA1-7342-D92C-A081CF647F94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359776" y="3527426"/>
              <a:ext cx="258763" cy="236538"/>
            </a:xfrm>
            <a:custGeom>
              <a:avLst/>
              <a:gdLst>
                <a:gd name="T0" fmla="*/ 0 w 120"/>
                <a:gd name="T1" fmla="*/ 206971 h 128"/>
                <a:gd name="T2" fmla="*/ 17251 w 120"/>
                <a:gd name="T3" fmla="*/ 221754 h 128"/>
                <a:gd name="T4" fmla="*/ 34502 w 120"/>
                <a:gd name="T5" fmla="*/ 221754 h 128"/>
                <a:gd name="T6" fmla="*/ 51753 w 120"/>
                <a:gd name="T7" fmla="*/ 206971 h 128"/>
                <a:gd name="T8" fmla="*/ 103505 w 120"/>
                <a:gd name="T9" fmla="*/ 192187 h 128"/>
                <a:gd name="T10" fmla="*/ 120756 w 120"/>
                <a:gd name="T11" fmla="*/ 192187 h 128"/>
                <a:gd name="T12" fmla="*/ 120756 w 120"/>
                <a:gd name="T13" fmla="*/ 221754 h 128"/>
                <a:gd name="T14" fmla="*/ 155258 w 120"/>
                <a:gd name="T15" fmla="*/ 236538 h 128"/>
                <a:gd name="T16" fmla="*/ 172509 w 120"/>
                <a:gd name="T17" fmla="*/ 206971 h 128"/>
                <a:gd name="T18" fmla="*/ 155258 w 120"/>
                <a:gd name="T19" fmla="*/ 192187 h 128"/>
                <a:gd name="T20" fmla="*/ 172509 w 120"/>
                <a:gd name="T21" fmla="*/ 192187 h 128"/>
                <a:gd name="T22" fmla="*/ 189760 w 120"/>
                <a:gd name="T23" fmla="*/ 192187 h 128"/>
                <a:gd name="T24" fmla="*/ 207010 w 120"/>
                <a:gd name="T25" fmla="*/ 177403 h 128"/>
                <a:gd name="T26" fmla="*/ 224261 w 120"/>
                <a:gd name="T27" fmla="*/ 192187 h 128"/>
                <a:gd name="T28" fmla="*/ 224261 w 120"/>
                <a:gd name="T29" fmla="*/ 177403 h 128"/>
                <a:gd name="T30" fmla="*/ 241512 w 120"/>
                <a:gd name="T31" fmla="*/ 192187 h 128"/>
                <a:gd name="T32" fmla="*/ 258763 w 120"/>
                <a:gd name="T33" fmla="*/ 177403 h 128"/>
                <a:gd name="T34" fmla="*/ 258763 w 120"/>
                <a:gd name="T35" fmla="*/ 162620 h 128"/>
                <a:gd name="T36" fmla="*/ 224261 w 120"/>
                <a:gd name="T37" fmla="*/ 103485 h 128"/>
                <a:gd name="T38" fmla="*/ 224261 w 120"/>
                <a:gd name="T39" fmla="*/ 88702 h 128"/>
                <a:gd name="T40" fmla="*/ 241512 w 120"/>
                <a:gd name="T41" fmla="*/ 88702 h 128"/>
                <a:gd name="T42" fmla="*/ 224261 w 120"/>
                <a:gd name="T43" fmla="*/ 73918 h 128"/>
                <a:gd name="T44" fmla="*/ 172509 w 120"/>
                <a:gd name="T45" fmla="*/ 14784 h 128"/>
                <a:gd name="T46" fmla="*/ 155258 w 120"/>
                <a:gd name="T47" fmla="*/ 0 h 128"/>
                <a:gd name="T48" fmla="*/ 172509 w 120"/>
                <a:gd name="T49" fmla="*/ 14784 h 128"/>
                <a:gd name="T50" fmla="*/ 155258 w 120"/>
                <a:gd name="T51" fmla="*/ 14784 h 128"/>
                <a:gd name="T52" fmla="*/ 172509 w 120"/>
                <a:gd name="T53" fmla="*/ 73918 h 128"/>
                <a:gd name="T54" fmla="*/ 172509 w 120"/>
                <a:gd name="T55" fmla="*/ 118269 h 128"/>
                <a:gd name="T56" fmla="*/ 138007 w 120"/>
                <a:gd name="T57" fmla="*/ 133053 h 128"/>
                <a:gd name="T58" fmla="*/ 138007 w 120"/>
                <a:gd name="T59" fmla="*/ 118269 h 128"/>
                <a:gd name="T60" fmla="*/ 120756 w 120"/>
                <a:gd name="T61" fmla="*/ 118269 h 128"/>
                <a:gd name="T62" fmla="*/ 120756 w 120"/>
                <a:gd name="T63" fmla="*/ 162620 h 128"/>
                <a:gd name="T64" fmla="*/ 120756 w 120"/>
                <a:gd name="T65" fmla="*/ 177403 h 128"/>
                <a:gd name="T66" fmla="*/ 103505 w 120"/>
                <a:gd name="T67" fmla="*/ 162620 h 128"/>
                <a:gd name="T68" fmla="*/ 34502 w 120"/>
                <a:gd name="T69" fmla="*/ 177403 h 128"/>
                <a:gd name="T70" fmla="*/ 0 w 120"/>
                <a:gd name="T71" fmla="*/ 206971 h 12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0"/>
                <a:gd name="T109" fmla="*/ 0 h 128"/>
                <a:gd name="T110" fmla="*/ 120 w 120"/>
                <a:gd name="T111" fmla="*/ 128 h 12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0" h="128">
                  <a:moveTo>
                    <a:pt x="0" y="112"/>
                  </a:moveTo>
                  <a:lnTo>
                    <a:pt x="8" y="120"/>
                  </a:lnTo>
                  <a:lnTo>
                    <a:pt x="16" y="120"/>
                  </a:lnTo>
                  <a:lnTo>
                    <a:pt x="24" y="112"/>
                  </a:lnTo>
                  <a:lnTo>
                    <a:pt x="48" y="104"/>
                  </a:lnTo>
                  <a:lnTo>
                    <a:pt x="56" y="104"/>
                  </a:lnTo>
                  <a:lnTo>
                    <a:pt x="56" y="120"/>
                  </a:lnTo>
                  <a:lnTo>
                    <a:pt x="72" y="128"/>
                  </a:lnTo>
                  <a:lnTo>
                    <a:pt x="80" y="112"/>
                  </a:lnTo>
                  <a:lnTo>
                    <a:pt x="72" y="104"/>
                  </a:lnTo>
                  <a:lnTo>
                    <a:pt x="80" y="104"/>
                  </a:lnTo>
                  <a:lnTo>
                    <a:pt x="88" y="104"/>
                  </a:lnTo>
                  <a:lnTo>
                    <a:pt x="96" y="96"/>
                  </a:lnTo>
                  <a:lnTo>
                    <a:pt x="104" y="104"/>
                  </a:lnTo>
                  <a:lnTo>
                    <a:pt x="104" y="96"/>
                  </a:lnTo>
                  <a:lnTo>
                    <a:pt x="112" y="104"/>
                  </a:lnTo>
                  <a:lnTo>
                    <a:pt x="120" y="96"/>
                  </a:lnTo>
                  <a:lnTo>
                    <a:pt x="120" y="88"/>
                  </a:lnTo>
                  <a:lnTo>
                    <a:pt x="104" y="56"/>
                  </a:lnTo>
                  <a:lnTo>
                    <a:pt x="104" y="48"/>
                  </a:lnTo>
                  <a:lnTo>
                    <a:pt x="112" y="48"/>
                  </a:lnTo>
                  <a:lnTo>
                    <a:pt x="104" y="40"/>
                  </a:lnTo>
                  <a:lnTo>
                    <a:pt x="80" y="8"/>
                  </a:lnTo>
                  <a:lnTo>
                    <a:pt x="72" y="0"/>
                  </a:lnTo>
                  <a:lnTo>
                    <a:pt x="80" y="8"/>
                  </a:lnTo>
                  <a:lnTo>
                    <a:pt x="72" y="8"/>
                  </a:lnTo>
                  <a:lnTo>
                    <a:pt x="80" y="40"/>
                  </a:lnTo>
                  <a:lnTo>
                    <a:pt x="80" y="64"/>
                  </a:lnTo>
                  <a:lnTo>
                    <a:pt x="64" y="72"/>
                  </a:lnTo>
                  <a:lnTo>
                    <a:pt x="64" y="64"/>
                  </a:lnTo>
                  <a:lnTo>
                    <a:pt x="56" y="64"/>
                  </a:lnTo>
                  <a:lnTo>
                    <a:pt x="56" y="88"/>
                  </a:lnTo>
                  <a:lnTo>
                    <a:pt x="56" y="96"/>
                  </a:lnTo>
                  <a:lnTo>
                    <a:pt x="48" y="88"/>
                  </a:lnTo>
                  <a:lnTo>
                    <a:pt x="16" y="96"/>
                  </a:lnTo>
                  <a:lnTo>
                    <a:pt x="0" y="1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7" name="Freeform 265">
              <a:extLst>
                <a:ext uri="{FF2B5EF4-FFF2-40B4-BE49-F238E27FC236}">
                  <a16:creationId xmlns:a16="http://schemas.microsoft.com/office/drawing/2014/main" id="{7A27055B-3231-3CBC-AA91-5EAA3C8FF5A8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8462963" y="3424238"/>
              <a:ext cx="155575" cy="119063"/>
            </a:xfrm>
            <a:custGeom>
              <a:avLst/>
              <a:gdLst>
                <a:gd name="T0" fmla="*/ 17286 w 72"/>
                <a:gd name="T1" fmla="*/ 74414 h 64"/>
                <a:gd name="T2" fmla="*/ 34572 w 72"/>
                <a:gd name="T3" fmla="*/ 119063 h 64"/>
                <a:gd name="T4" fmla="*/ 51858 w 72"/>
                <a:gd name="T5" fmla="*/ 104180 h 64"/>
                <a:gd name="T6" fmla="*/ 34572 w 72"/>
                <a:gd name="T7" fmla="*/ 74414 h 64"/>
                <a:gd name="T8" fmla="*/ 51858 w 72"/>
                <a:gd name="T9" fmla="*/ 89297 h 64"/>
                <a:gd name="T10" fmla="*/ 69144 w 72"/>
                <a:gd name="T11" fmla="*/ 74414 h 64"/>
                <a:gd name="T12" fmla="*/ 103717 w 72"/>
                <a:gd name="T13" fmla="*/ 89297 h 64"/>
                <a:gd name="T14" fmla="*/ 121003 w 72"/>
                <a:gd name="T15" fmla="*/ 74414 h 64"/>
                <a:gd name="T16" fmla="*/ 138289 w 72"/>
                <a:gd name="T17" fmla="*/ 74414 h 64"/>
                <a:gd name="T18" fmla="*/ 155575 w 72"/>
                <a:gd name="T19" fmla="*/ 59532 h 64"/>
                <a:gd name="T20" fmla="*/ 138289 w 72"/>
                <a:gd name="T21" fmla="*/ 59532 h 64"/>
                <a:gd name="T22" fmla="*/ 121003 w 72"/>
                <a:gd name="T23" fmla="*/ 44649 h 64"/>
                <a:gd name="T24" fmla="*/ 121003 w 72"/>
                <a:gd name="T25" fmla="*/ 29766 h 64"/>
                <a:gd name="T26" fmla="*/ 103717 w 72"/>
                <a:gd name="T27" fmla="*/ 44649 h 64"/>
                <a:gd name="T28" fmla="*/ 86431 w 72"/>
                <a:gd name="T29" fmla="*/ 29766 h 64"/>
                <a:gd name="T30" fmla="*/ 0 w 72"/>
                <a:gd name="T31" fmla="*/ 0 h 64"/>
                <a:gd name="T32" fmla="*/ 17286 w 72"/>
                <a:gd name="T33" fmla="*/ 14883 h 64"/>
                <a:gd name="T34" fmla="*/ 34572 w 72"/>
                <a:gd name="T35" fmla="*/ 59532 h 64"/>
                <a:gd name="T36" fmla="*/ 17286 w 72"/>
                <a:gd name="T37" fmla="*/ 59532 h 64"/>
                <a:gd name="T38" fmla="*/ 17286 w 72"/>
                <a:gd name="T39" fmla="*/ 74414 h 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2"/>
                <a:gd name="T61" fmla="*/ 0 h 64"/>
                <a:gd name="T62" fmla="*/ 72 w 72"/>
                <a:gd name="T63" fmla="*/ 64 h 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2" h="64">
                  <a:moveTo>
                    <a:pt x="8" y="40"/>
                  </a:moveTo>
                  <a:lnTo>
                    <a:pt x="16" y="64"/>
                  </a:lnTo>
                  <a:lnTo>
                    <a:pt x="24" y="56"/>
                  </a:lnTo>
                  <a:lnTo>
                    <a:pt x="16" y="40"/>
                  </a:lnTo>
                  <a:lnTo>
                    <a:pt x="24" y="48"/>
                  </a:lnTo>
                  <a:lnTo>
                    <a:pt x="32" y="40"/>
                  </a:lnTo>
                  <a:lnTo>
                    <a:pt x="48" y="48"/>
                  </a:lnTo>
                  <a:lnTo>
                    <a:pt x="56" y="40"/>
                  </a:lnTo>
                  <a:lnTo>
                    <a:pt x="64" y="40"/>
                  </a:lnTo>
                  <a:lnTo>
                    <a:pt x="72" y="32"/>
                  </a:lnTo>
                  <a:lnTo>
                    <a:pt x="64" y="32"/>
                  </a:lnTo>
                  <a:lnTo>
                    <a:pt x="56" y="24"/>
                  </a:lnTo>
                  <a:lnTo>
                    <a:pt x="56" y="16"/>
                  </a:lnTo>
                  <a:lnTo>
                    <a:pt x="48" y="24"/>
                  </a:lnTo>
                  <a:lnTo>
                    <a:pt x="40" y="16"/>
                  </a:lnTo>
                  <a:lnTo>
                    <a:pt x="0" y="0"/>
                  </a:lnTo>
                  <a:lnTo>
                    <a:pt x="8" y="8"/>
                  </a:lnTo>
                  <a:lnTo>
                    <a:pt x="16" y="32"/>
                  </a:lnTo>
                  <a:lnTo>
                    <a:pt x="8" y="32"/>
                  </a:lnTo>
                  <a:lnTo>
                    <a:pt x="8" y="4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8" name="Line 266">
              <a:extLst>
                <a:ext uri="{FF2B5EF4-FFF2-40B4-BE49-F238E27FC236}">
                  <a16:creationId xmlns:a16="http://schemas.microsoft.com/office/drawing/2014/main" id="{57EFD592-9078-6E7B-35D9-014CC0AE711B}"/>
                </a:ext>
              </a:extLst>
            </p:cNvPr>
            <p:cNvSpPr>
              <a:spLocks noChangeShapeType="1"/>
            </p:cNvSpPr>
            <p:nvPr>
              <p:custDataLst>
                <p:tags r:id="rId231"/>
              </p:custDataLst>
            </p:nvPr>
          </p:nvSpPr>
          <p:spPr bwMode="auto">
            <a:xfrm flipV="1">
              <a:off x="8359776" y="3956051"/>
              <a:ext cx="17463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9" name="Line 267">
              <a:extLst>
                <a:ext uri="{FF2B5EF4-FFF2-40B4-BE49-F238E27FC236}">
                  <a16:creationId xmlns:a16="http://schemas.microsoft.com/office/drawing/2014/main" id="{C7199B9F-1E6F-53D6-8866-32ACCCC6991B}"/>
                </a:ext>
              </a:extLst>
            </p:cNvPr>
            <p:cNvSpPr>
              <a:spLocks noChangeShapeType="1"/>
            </p:cNvSpPr>
            <p:nvPr>
              <p:custDataLst>
                <p:tags r:id="rId232"/>
              </p:custDataLst>
            </p:nvPr>
          </p:nvSpPr>
          <p:spPr bwMode="auto">
            <a:xfrm flipV="1">
              <a:off x="8394701" y="3911601"/>
              <a:ext cx="1588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0" name="Line 268">
              <a:extLst>
                <a:ext uri="{FF2B5EF4-FFF2-40B4-BE49-F238E27FC236}">
                  <a16:creationId xmlns:a16="http://schemas.microsoft.com/office/drawing/2014/main" id="{C9D9BAB9-95B4-E19D-D9F5-0F72BAD5ACDB}"/>
                </a:ext>
              </a:extLst>
            </p:cNvPr>
            <p:cNvSpPr>
              <a:spLocks noChangeShapeType="1"/>
            </p:cNvSpPr>
            <p:nvPr>
              <p:custDataLst>
                <p:tags r:id="rId233"/>
              </p:custDataLst>
            </p:nvPr>
          </p:nvSpPr>
          <p:spPr bwMode="auto">
            <a:xfrm flipV="1">
              <a:off x="8601076" y="3468688"/>
              <a:ext cx="3175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1" name="Freeform 269">
              <a:extLst>
                <a:ext uri="{FF2B5EF4-FFF2-40B4-BE49-F238E27FC236}">
                  <a16:creationId xmlns:a16="http://schemas.microsoft.com/office/drawing/2014/main" id="{0D7F6894-7A4D-5001-49A3-6A71758615BD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618538" y="3424238"/>
              <a:ext cx="34925" cy="30163"/>
            </a:xfrm>
            <a:custGeom>
              <a:avLst/>
              <a:gdLst>
                <a:gd name="T0" fmla="*/ 0 w 16"/>
                <a:gd name="T1" fmla="*/ 30163 h 16"/>
                <a:gd name="T2" fmla="*/ 34925 w 16"/>
                <a:gd name="T3" fmla="*/ 0 h 16"/>
                <a:gd name="T4" fmla="*/ 17463 w 16"/>
                <a:gd name="T5" fmla="*/ 0 h 16"/>
                <a:gd name="T6" fmla="*/ 0 w 16"/>
                <a:gd name="T7" fmla="*/ 30163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16"/>
                <a:gd name="T14" fmla="*/ 16 w 16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16">
                  <a:moveTo>
                    <a:pt x="0" y="16"/>
                  </a:moveTo>
                  <a:lnTo>
                    <a:pt x="16" y="0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2" name="Line 270">
              <a:extLst>
                <a:ext uri="{FF2B5EF4-FFF2-40B4-BE49-F238E27FC236}">
                  <a16:creationId xmlns:a16="http://schemas.microsoft.com/office/drawing/2014/main" id="{1D10B0B8-7116-DAF2-2F10-499ADE38DE81}"/>
                </a:ext>
              </a:extLst>
            </p:cNvPr>
            <p:cNvSpPr>
              <a:spLocks noChangeShapeType="1"/>
            </p:cNvSpPr>
            <p:nvPr>
              <p:custDataLst>
                <p:tags r:id="rId235"/>
              </p:custDataLst>
            </p:nvPr>
          </p:nvSpPr>
          <p:spPr bwMode="auto">
            <a:xfrm flipV="1">
              <a:off x="8670926" y="3409951"/>
              <a:ext cx="1588" cy="30163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3" name="Line 271">
              <a:extLst>
                <a:ext uri="{FF2B5EF4-FFF2-40B4-BE49-F238E27FC236}">
                  <a16:creationId xmlns:a16="http://schemas.microsoft.com/office/drawing/2014/main" id="{1A3F58B0-11A5-B70F-FB24-C6B973518E34}"/>
                </a:ext>
              </a:extLst>
            </p:cNvPr>
            <p:cNvSpPr>
              <a:spLocks noChangeShapeType="1"/>
            </p:cNvSpPr>
            <p:nvPr>
              <p:custDataLst>
                <p:tags r:id="rId236"/>
              </p:custDataLst>
            </p:nvPr>
          </p:nvSpPr>
          <p:spPr bwMode="auto">
            <a:xfrm>
              <a:off x="8688388" y="3395663"/>
              <a:ext cx="17463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4" name="Freeform 272">
              <a:extLst>
                <a:ext uri="{FF2B5EF4-FFF2-40B4-BE49-F238E27FC236}">
                  <a16:creationId xmlns:a16="http://schemas.microsoft.com/office/drawing/2014/main" id="{A71ED1BB-A353-1780-4F5C-B8CFEDA1D7F4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705851" y="3276601"/>
              <a:ext cx="15875" cy="30163"/>
            </a:xfrm>
            <a:custGeom>
              <a:avLst/>
              <a:gdLst>
                <a:gd name="T0" fmla="*/ 0 w 8"/>
                <a:gd name="T1" fmla="*/ 15082 h 16"/>
                <a:gd name="T2" fmla="*/ 0 w 8"/>
                <a:gd name="T3" fmla="*/ 30163 h 16"/>
                <a:gd name="T4" fmla="*/ 15875 w 8"/>
                <a:gd name="T5" fmla="*/ 15082 h 16"/>
                <a:gd name="T6" fmla="*/ 0 w 8"/>
                <a:gd name="T7" fmla="*/ 0 h 16"/>
                <a:gd name="T8" fmla="*/ 0 w 8"/>
                <a:gd name="T9" fmla="*/ 15082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6"/>
                <a:gd name="T17" fmla="*/ 8 w 8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6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5" name="Freeform 273">
              <a:extLst>
                <a:ext uri="{FF2B5EF4-FFF2-40B4-BE49-F238E27FC236}">
                  <a16:creationId xmlns:a16="http://schemas.microsoft.com/office/drawing/2014/main" id="{94E258EE-7C30-E027-B269-9136780EE793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653463" y="3055938"/>
              <a:ext cx="17463" cy="14288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6" name="Freeform 274">
              <a:extLst>
                <a:ext uri="{FF2B5EF4-FFF2-40B4-BE49-F238E27FC236}">
                  <a16:creationId xmlns:a16="http://schemas.microsoft.com/office/drawing/2014/main" id="{6EB9A69C-77D9-3CB2-E3E2-4D5B7340AE0C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532813" y="2760663"/>
              <a:ext cx="68263" cy="14288"/>
            </a:xfrm>
            <a:custGeom>
              <a:avLst/>
              <a:gdLst>
                <a:gd name="T0" fmla="*/ 17066 w 32"/>
                <a:gd name="T1" fmla="*/ 14288 h 8"/>
                <a:gd name="T2" fmla="*/ 68263 w 32"/>
                <a:gd name="T3" fmla="*/ 0 h 8"/>
                <a:gd name="T4" fmla="*/ 0 w 32"/>
                <a:gd name="T5" fmla="*/ 0 h 8"/>
                <a:gd name="T6" fmla="*/ 0 60000 65536"/>
                <a:gd name="T7" fmla="*/ 0 60000 65536"/>
                <a:gd name="T8" fmla="*/ 0 60000 65536"/>
                <a:gd name="T9" fmla="*/ 0 w 32"/>
                <a:gd name="T10" fmla="*/ 0 h 8"/>
                <a:gd name="T11" fmla="*/ 32 w 32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2" h="8">
                  <a:moveTo>
                    <a:pt x="8" y="8"/>
                  </a:moveTo>
                  <a:lnTo>
                    <a:pt x="32" y="0"/>
                  </a:lnTo>
                  <a:lnTo>
                    <a:pt x="0" y="0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7" name="Freeform 275">
              <a:extLst>
                <a:ext uri="{FF2B5EF4-FFF2-40B4-BE49-F238E27FC236}">
                  <a16:creationId xmlns:a16="http://schemas.microsoft.com/office/drawing/2014/main" id="{789658D5-8754-6D6F-A67A-0355C92E8035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667626" y="2701926"/>
              <a:ext cx="69850" cy="14288"/>
            </a:xfrm>
            <a:custGeom>
              <a:avLst/>
              <a:gdLst>
                <a:gd name="T0" fmla="*/ 0 w 32"/>
                <a:gd name="T1" fmla="*/ 14288 h 8"/>
                <a:gd name="T2" fmla="*/ 69850 w 32"/>
                <a:gd name="T3" fmla="*/ 14288 h 8"/>
                <a:gd name="T4" fmla="*/ 17463 w 32"/>
                <a:gd name="T5" fmla="*/ 0 h 8"/>
                <a:gd name="T6" fmla="*/ 0 w 32"/>
                <a:gd name="T7" fmla="*/ 0 h 8"/>
                <a:gd name="T8" fmla="*/ 0 w 32"/>
                <a:gd name="T9" fmla="*/ 1428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"/>
                <a:gd name="T16" fmla="*/ 0 h 8"/>
                <a:gd name="T17" fmla="*/ 32 w 3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" h="8">
                  <a:moveTo>
                    <a:pt x="0" y="8"/>
                  </a:moveTo>
                  <a:lnTo>
                    <a:pt x="32" y="8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8" name="Line 276">
              <a:extLst>
                <a:ext uri="{FF2B5EF4-FFF2-40B4-BE49-F238E27FC236}">
                  <a16:creationId xmlns:a16="http://schemas.microsoft.com/office/drawing/2014/main" id="{B26B1E0B-C6B7-257E-9A19-E38E7B37CCA1}"/>
                </a:ext>
              </a:extLst>
            </p:cNvPr>
            <p:cNvSpPr>
              <a:spLocks noChangeShapeType="1"/>
            </p:cNvSpPr>
            <p:nvPr>
              <p:custDataLst>
                <p:tags r:id="rId241"/>
              </p:custDataLst>
            </p:nvPr>
          </p:nvSpPr>
          <p:spPr bwMode="auto">
            <a:xfrm>
              <a:off x="8532813" y="2774951"/>
              <a:ext cx="17463" cy="15875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9" name="Line 277">
              <a:extLst>
                <a:ext uri="{FF2B5EF4-FFF2-40B4-BE49-F238E27FC236}">
                  <a16:creationId xmlns:a16="http://schemas.microsoft.com/office/drawing/2014/main" id="{FBA78164-0FB7-0498-81A0-F01EA57ED5C1}"/>
                </a:ext>
              </a:extLst>
            </p:cNvPr>
            <p:cNvSpPr>
              <a:spLocks noChangeShapeType="1"/>
            </p:cNvSpPr>
            <p:nvPr>
              <p:custDataLst>
                <p:tags r:id="rId242"/>
              </p:custDataLst>
            </p:nvPr>
          </p:nvSpPr>
          <p:spPr bwMode="auto">
            <a:xfrm>
              <a:off x="7632701" y="2716213"/>
              <a:ext cx="17463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0" name="Freeform 278">
              <a:extLst>
                <a:ext uri="{FF2B5EF4-FFF2-40B4-BE49-F238E27FC236}">
                  <a16:creationId xmlns:a16="http://schemas.microsoft.com/office/drawing/2014/main" id="{12E20974-9D08-6DD9-42F2-B955F09C805C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702551" y="2671763"/>
              <a:ext cx="103188" cy="15875"/>
            </a:xfrm>
            <a:custGeom>
              <a:avLst/>
              <a:gdLst>
                <a:gd name="T0" fmla="*/ 0 w 48"/>
                <a:gd name="T1" fmla="*/ 0 h 8"/>
                <a:gd name="T2" fmla="*/ 103188 w 48"/>
                <a:gd name="T3" fmla="*/ 15875 h 8"/>
                <a:gd name="T4" fmla="*/ 103188 w 48"/>
                <a:gd name="T5" fmla="*/ 0 h 8"/>
                <a:gd name="T6" fmla="*/ 0 w 4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8"/>
                <a:gd name="T13" fmla="*/ 0 h 8"/>
                <a:gd name="T14" fmla="*/ 48 w 4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8" h="8">
                  <a:moveTo>
                    <a:pt x="0" y="0"/>
                  </a:moveTo>
                  <a:lnTo>
                    <a:pt x="48" y="8"/>
                  </a:lnTo>
                  <a:lnTo>
                    <a:pt x="4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1" name="Freeform 279">
              <a:extLst>
                <a:ext uri="{FF2B5EF4-FFF2-40B4-BE49-F238E27FC236}">
                  <a16:creationId xmlns:a16="http://schemas.microsoft.com/office/drawing/2014/main" id="{3A0A9FD5-DBC6-D385-327A-BE39233805E1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512051" y="2657476"/>
              <a:ext cx="173038" cy="30163"/>
            </a:xfrm>
            <a:custGeom>
              <a:avLst/>
              <a:gdLst>
                <a:gd name="T0" fmla="*/ 17304 w 80"/>
                <a:gd name="T1" fmla="*/ 15082 h 16"/>
                <a:gd name="T2" fmla="*/ 86519 w 80"/>
                <a:gd name="T3" fmla="*/ 30163 h 16"/>
                <a:gd name="T4" fmla="*/ 155734 w 80"/>
                <a:gd name="T5" fmla="*/ 30163 h 16"/>
                <a:gd name="T6" fmla="*/ 173038 w 80"/>
                <a:gd name="T7" fmla="*/ 15082 h 16"/>
                <a:gd name="T8" fmla="*/ 86519 w 80"/>
                <a:gd name="T9" fmla="*/ 0 h 16"/>
                <a:gd name="T10" fmla="*/ 17304 w 80"/>
                <a:gd name="T11" fmla="*/ 0 h 16"/>
                <a:gd name="T12" fmla="*/ 0 w 80"/>
                <a:gd name="T13" fmla="*/ 0 h 16"/>
                <a:gd name="T14" fmla="*/ 17304 w 80"/>
                <a:gd name="T15" fmla="*/ 15082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0"/>
                <a:gd name="T25" fmla="*/ 0 h 16"/>
                <a:gd name="T26" fmla="*/ 80 w 80"/>
                <a:gd name="T27" fmla="*/ 16 h 1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0" h="16">
                  <a:moveTo>
                    <a:pt x="8" y="8"/>
                  </a:moveTo>
                  <a:lnTo>
                    <a:pt x="40" y="16"/>
                  </a:lnTo>
                  <a:lnTo>
                    <a:pt x="72" y="16"/>
                  </a:lnTo>
                  <a:lnTo>
                    <a:pt x="80" y="8"/>
                  </a:lnTo>
                  <a:lnTo>
                    <a:pt x="4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2" name="Freeform 280">
              <a:extLst>
                <a:ext uri="{FF2B5EF4-FFF2-40B4-BE49-F238E27FC236}">
                  <a16:creationId xmlns:a16="http://schemas.microsoft.com/office/drawing/2014/main" id="{E833B347-6408-C8D6-EB45-09E6F5C085B3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6734176" y="2582863"/>
              <a:ext cx="85725" cy="30163"/>
            </a:xfrm>
            <a:custGeom>
              <a:avLst/>
              <a:gdLst>
                <a:gd name="T0" fmla="*/ 0 w 40"/>
                <a:gd name="T1" fmla="*/ 30163 h 16"/>
                <a:gd name="T2" fmla="*/ 85725 w 40"/>
                <a:gd name="T3" fmla="*/ 30163 h 16"/>
                <a:gd name="T4" fmla="*/ 68580 w 40"/>
                <a:gd name="T5" fmla="*/ 15082 h 16"/>
                <a:gd name="T6" fmla="*/ 17145 w 40"/>
                <a:gd name="T7" fmla="*/ 0 h 16"/>
                <a:gd name="T8" fmla="*/ 0 w 40"/>
                <a:gd name="T9" fmla="*/ 0 h 16"/>
                <a:gd name="T10" fmla="*/ 0 w 40"/>
                <a:gd name="T11" fmla="*/ 30163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6"/>
                <a:gd name="T20" fmla="*/ 40 w 40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6">
                  <a:moveTo>
                    <a:pt x="0" y="16"/>
                  </a:moveTo>
                  <a:lnTo>
                    <a:pt x="40" y="16"/>
                  </a:lnTo>
                  <a:lnTo>
                    <a:pt x="32" y="8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3" name="Freeform 281">
              <a:extLst>
                <a:ext uri="{FF2B5EF4-FFF2-40B4-BE49-F238E27FC236}">
                  <a16:creationId xmlns:a16="http://schemas.microsoft.com/office/drawing/2014/main" id="{34A8D635-4D8C-EB50-76FD-42DB0B304C81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6526213" y="2554288"/>
              <a:ext cx="190500" cy="44450"/>
            </a:xfrm>
            <a:custGeom>
              <a:avLst/>
              <a:gdLst>
                <a:gd name="T0" fmla="*/ 0 w 88"/>
                <a:gd name="T1" fmla="*/ 14817 h 24"/>
                <a:gd name="T2" fmla="*/ 86591 w 88"/>
                <a:gd name="T3" fmla="*/ 44450 h 24"/>
                <a:gd name="T4" fmla="*/ 190500 w 88"/>
                <a:gd name="T5" fmla="*/ 44450 h 24"/>
                <a:gd name="T6" fmla="*/ 173182 w 88"/>
                <a:gd name="T7" fmla="*/ 29633 h 24"/>
                <a:gd name="T8" fmla="*/ 51955 w 88"/>
                <a:gd name="T9" fmla="*/ 0 h 24"/>
                <a:gd name="T10" fmla="*/ 17318 w 88"/>
                <a:gd name="T11" fmla="*/ 0 h 24"/>
                <a:gd name="T12" fmla="*/ 17318 w 88"/>
                <a:gd name="T13" fmla="*/ 14817 h 24"/>
                <a:gd name="T14" fmla="*/ 0 w 88"/>
                <a:gd name="T15" fmla="*/ 14817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24"/>
                <a:gd name="T26" fmla="*/ 88 w 88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24">
                  <a:moveTo>
                    <a:pt x="0" y="8"/>
                  </a:moveTo>
                  <a:lnTo>
                    <a:pt x="40" y="24"/>
                  </a:lnTo>
                  <a:lnTo>
                    <a:pt x="88" y="24"/>
                  </a:lnTo>
                  <a:lnTo>
                    <a:pt x="80" y="16"/>
                  </a:lnTo>
                  <a:lnTo>
                    <a:pt x="24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4" name="Freeform 282">
              <a:extLst>
                <a:ext uri="{FF2B5EF4-FFF2-40B4-BE49-F238E27FC236}">
                  <a16:creationId xmlns:a16="http://schemas.microsoft.com/office/drawing/2014/main" id="{BBB7BD69-234D-4E45-A613-B886A1FCCE3C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03913" y="2643188"/>
              <a:ext cx="293688" cy="131763"/>
            </a:xfrm>
            <a:custGeom>
              <a:avLst/>
              <a:gdLst>
                <a:gd name="T0" fmla="*/ 17276 w 136"/>
                <a:gd name="T1" fmla="*/ 117123 h 72"/>
                <a:gd name="T2" fmla="*/ 69103 w 136"/>
                <a:gd name="T3" fmla="*/ 131763 h 72"/>
                <a:gd name="T4" fmla="*/ 138206 w 136"/>
                <a:gd name="T5" fmla="*/ 131763 h 72"/>
                <a:gd name="T6" fmla="*/ 103655 w 136"/>
                <a:gd name="T7" fmla="*/ 117123 h 72"/>
                <a:gd name="T8" fmla="*/ 86379 w 136"/>
                <a:gd name="T9" fmla="*/ 87842 h 72"/>
                <a:gd name="T10" fmla="*/ 155482 w 136"/>
                <a:gd name="T11" fmla="*/ 29281 h 72"/>
                <a:gd name="T12" fmla="*/ 293688 w 136"/>
                <a:gd name="T13" fmla="*/ 14640 h 72"/>
                <a:gd name="T14" fmla="*/ 276412 w 136"/>
                <a:gd name="T15" fmla="*/ 0 h 72"/>
                <a:gd name="T16" fmla="*/ 259136 w 136"/>
                <a:gd name="T17" fmla="*/ 0 h 72"/>
                <a:gd name="T18" fmla="*/ 224585 w 136"/>
                <a:gd name="T19" fmla="*/ 0 h 72"/>
                <a:gd name="T20" fmla="*/ 138206 w 136"/>
                <a:gd name="T21" fmla="*/ 14640 h 72"/>
                <a:gd name="T22" fmla="*/ 51827 w 136"/>
                <a:gd name="T23" fmla="*/ 29281 h 72"/>
                <a:gd name="T24" fmla="*/ 51827 w 136"/>
                <a:gd name="T25" fmla="*/ 58561 h 72"/>
                <a:gd name="T26" fmla="*/ 34552 w 136"/>
                <a:gd name="T27" fmla="*/ 58561 h 72"/>
                <a:gd name="T28" fmla="*/ 51827 w 136"/>
                <a:gd name="T29" fmla="*/ 73202 h 72"/>
                <a:gd name="T30" fmla="*/ 17276 w 136"/>
                <a:gd name="T31" fmla="*/ 87842 h 72"/>
                <a:gd name="T32" fmla="*/ 34552 w 136"/>
                <a:gd name="T33" fmla="*/ 87842 h 72"/>
                <a:gd name="T34" fmla="*/ 0 w 136"/>
                <a:gd name="T35" fmla="*/ 102482 h 72"/>
                <a:gd name="T36" fmla="*/ 17276 w 136"/>
                <a:gd name="T37" fmla="*/ 117123 h 7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6"/>
                <a:gd name="T58" fmla="*/ 0 h 72"/>
                <a:gd name="T59" fmla="*/ 136 w 136"/>
                <a:gd name="T60" fmla="*/ 72 h 7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6" h="72">
                  <a:moveTo>
                    <a:pt x="8" y="64"/>
                  </a:moveTo>
                  <a:lnTo>
                    <a:pt x="32" y="72"/>
                  </a:lnTo>
                  <a:lnTo>
                    <a:pt x="64" y="72"/>
                  </a:lnTo>
                  <a:lnTo>
                    <a:pt x="48" y="64"/>
                  </a:lnTo>
                  <a:lnTo>
                    <a:pt x="40" y="48"/>
                  </a:lnTo>
                  <a:lnTo>
                    <a:pt x="72" y="16"/>
                  </a:lnTo>
                  <a:lnTo>
                    <a:pt x="136" y="8"/>
                  </a:lnTo>
                  <a:lnTo>
                    <a:pt x="128" y="0"/>
                  </a:lnTo>
                  <a:lnTo>
                    <a:pt x="120" y="0"/>
                  </a:lnTo>
                  <a:lnTo>
                    <a:pt x="104" y="0"/>
                  </a:lnTo>
                  <a:lnTo>
                    <a:pt x="64" y="8"/>
                  </a:lnTo>
                  <a:lnTo>
                    <a:pt x="24" y="16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24" y="40"/>
                  </a:lnTo>
                  <a:lnTo>
                    <a:pt x="8" y="48"/>
                  </a:lnTo>
                  <a:lnTo>
                    <a:pt x="16" y="48"/>
                  </a:lnTo>
                  <a:lnTo>
                    <a:pt x="0" y="56"/>
                  </a:lnTo>
                  <a:lnTo>
                    <a:pt x="8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5" name="Freeform 283">
              <a:extLst>
                <a:ext uri="{FF2B5EF4-FFF2-40B4-BE49-F238E27FC236}">
                  <a16:creationId xmlns:a16="http://schemas.microsoft.com/office/drawing/2014/main" id="{96E25EC9-9BDC-5A8E-F3B2-DF1B99870DEC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5868988" y="2805113"/>
              <a:ext cx="52388" cy="14288"/>
            </a:xfrm>
            <a:custGeom>
              <a:avLst/>
              <a:gdLst>
                <a:gd name="T0" fmla="*/ 17463 w 24"/>
                <a:gd name="T1" fmla="*/ 14288 h 8"/>
                <a:gd name="T2" fmla="*/ 34925 w 24"/>
                <a:gd name="T3" fmla="*/ 14288 h 8"/>
                <a:gd name="T4" fmla="*/ 52388 w 24"/>
                <a:gd name="T5" fmla="*/ 0 h 8"/>
                <a:gd name="T6" fmla="*/ 17463 w 24"/>
                <a:gd name="T7" fmla="*/ 0 h 8"/>
                <a:gd name="T8" fmla="*/ 0 w 24"/>
                <a:gd name="T9" fmla="*/ 0 h 8"/>
                <a:gd name="T10" fmla="*/ 17463 w 24"/>
                <a:gd name="T11" fmla="*/ 1428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8"/>
                <a:gd name="T20" fmla="*/ 24 w 2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8">
                  <a:moveTo>
                    <a:pt x="8" y="8"/>
                  </a:moveTo>
                  <a:lnTo>
                    <a:pt x="16" y="8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6" name="Freeform 284">
              <a:extLst>
                <a:ext uri="{FF2B5EF4-FFF2-40B4-BE49-F238E27FC236}">
                  <a16:creationId xmlns:a16="http://schemas.microsoft.com/office/drawing/2014/main" id="{175C9205-9060-0F3F-A20C-EBFDA0C4955F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5903913" y="2554288"/>
              <a:ext cx="138113" cy="14288"/>
            </a:xfrm>
            <a:custGeom>
              <a:avLst/>
              <a:gdLst>
                <a:gd name="T0" fmla="*/ 0 w 64"/>
                <a:gd name="T1" fmla="*/ 14288 h 8"/>
                <a:gd name="T2" fmla="*/ 86321 w 64"/>
                <a:gd name="T3" fmla="*/ 14288 h 8"/>
                <a:gd name="T4" fmla="*/ 103585 w 64"/>
                <a:gd name="T5" fmla="*/ 14288 h 8"/>
                <a:gd name="T6" fmla="*/ 86321 w 64"/>
                <a:gd name="T7" fmla="*/ 0 h 8"/>
                <a:gd name="T8" fmla="*/ 138113 w 64"/>
                <a:gd name="T9" fmla="*/ 0 h 8"/>
                <a:gd name="T10" fmla="*/ 120849 w 64"/>
                <a:gd name="T11" fmla="*/ 0 h 8"/>
                <a:gd name="T12" fmla="*/ 0 w 64"/>
                <a:gd name="T13" fmla="*/ 14288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4"/>
                <a:gd name="T22" fmla="*/ 0 h 8"/>
                <a:gd name="T23" fmla="*/ 64 w 64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4" h="8">
                  <a:moveTo>
                    <a:pt x="0" y="8"/>
                  </a:moveTo>
                  <a:lnTo>
                    <a:pt x="40" y="8"/>
                  </a:lnTo>
                  <a:lnTo>
                    <a:pt x="48" y="8"/>
                  </a:lnTo>
                  <a:lnTo>
                    <a:pt x="40" y="0"/>
                  </a:lnTo>
                  <a:lnTo>
                    <a:pt x="64" y="0"/>
                  </a:lnTo>
                  <a:lnTo>
                    <a:pt x="56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7" name="Freeform 285">
              <a:extLst>
                <a:ext uri="{FF2B5EF4-FFF2-40B4-BE49-F238E27FC236}">
                  <a16:creationId xmlns:a16="http://schemas.microsoft.com/office/drawing/2014/main" id="{9BD1F184-3519-3476-10A4-F104F12BFC46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5851526" y="2540001"/>
              <a:ext cx="87313" cy="14288"/>
            </a:xfrm>
            <a:custGeom>
              <a:avLst/>
              <a:gdLst>
                <a:gd name="T0" fmla="*/ 0 w 40"/>
                <a:gd name="T1" fmla="*/ 14288 h 8"/>
                <a:gd name="T2" fmla="*/ 87313 w 40"/>
                <a:gd name="T3" fmla="*/ 14288 h 8"/>
                <a:gd name="T4" fmla="*/ 69850 w 40"/>
                <a:gd name="T5" fmla="*/ 14288 h 8"/>
                <a:gd name="T6" fmla="*/ 69850 w 40"/>
                <a:gd name="T7" fmla="*/ 0 h 8"/>
                <a:gd name="T8" fmla="*/ 34925 w 40"/>
                <a:gd name="T9" fmla="*/ 14288 h 8"/>
                <a:gd name="T10" fmla="*/ 0 w 40"/>
                <a:gd name="T11" fmla="*/ 1428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8"/>
                <a:gd name="T20" fmla="*/ 40 w 4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8">
                  <a:moveTo>
                    <a:pt x="0" y="8"/>
                  </a:moveTo>
                  <a:lnTo>
                    <a:pt x="4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16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8" name="Freeform 286">
              <a:extLst>
                <a:ext uri="{FF2B5EF4-FFF2-40B4-BE49-F238E27FC236}">
                  <a16:creationId xmlns:a16="http://schemas.microsoft.com/office/drawing/2014/main" id="{DD95E220-BAB0-6780-48C1-10069506BB26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5680076" y="2554288"/>
              <a:ext cx="120650" cy="14288"/>
            </a:xfrm>
            <a:custGeom>
              <a:avLst/>
              <a:gdLst>
                <a:gd name="T0" fmla="*/ 0 w 56"/>
                <a:gd name="T1" fmla="*/ 14288 h 8"/>
                <a:gd name="T2" fmla="*/ 86179 w 56"/>
                <a:gd name="T3" fmla="*/ 14288 h 8"/>
                <a:gd name="T4" fmla="*/ 103414 w 56"/>
                <a:gd name="T5" fmla="*/ 14288 h 8"/>
                <a:gd name="T6" fmla="*/ 120650 w 56"/>
                <a:gd name="T7" fmla="*/ 14288 h 8"/>
                <a:gd name="T8" fmla="*/ 51707 w 56"/>
                <a:gd name="T9" fmla="*/ 0 h 8"/>
                <a:gd name="T10" fmla="*/ 0 w 56"/>
                <a:gd name="T11" fmla="*/ 1428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6"/>
                <a:gd name="T19" fmla="*/ 0 h 8"/>
                <a:gd name="T20" fmla="*/ 56 w 5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6" h="8">
                  <a:moveTo>
                    <a:pt x="0" y="8"/>
                  </a:moveTo>
                  <a:lnTo>
                    <a:pt x="40" y="8"/>
                  </a:lnTo>
                  <a:lnTo>
                    <a:pt x="48" y="8"/>
                  </a:lnTo>
                  <a:lnTo>
                    <a:pt x="56" y="8"/>
                  </a:lnTo>
                  <a:lnTo>
                    <a:pt x="24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9" name="Freeform 287">
              <a:extLst>
                <a:ext uri="{FF2B5EF4-FFF2-40B4-BE49-F238E27FC236}">
                  <a16:creationId xmlns:a16="http://schemas.microsoft.com/office/drawing/2014/main" id="{01F3EF76-BF32-A8AD-66AA-A5887533346F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91113" y="2568576"/>
              <a:ext cx="293688" cy="74613"/>
            </a:xfrm>
            <a:custGeom>
              <a:avLst/>
              <a:gdLst>
                <a:gd name="T0" fmla="*/ 0 w 136"/>
                <a:gd name="T1" fmla="*/ 14923 h 40"/>
                <a:gd name="T2" fmla="*/ 17276 w 136"/>
                <a:gd name="T3" fmla="*/ 29845 h 40"/>
                <a:gd name="T4" fmla="*/ 34552 w 136"/>
                <a:gd name="T5" fmla="*/ 44768 h 40"/>
                <a:gd name="T6" fmla="*/ 69103 w 136"/>
                <a:gd name="T7" fmla="*/ 44768 h 40"/>
                <a:gd name="T8" fmla="*/ 51827 w 136"/>
                <a:gd name="T9" fmla="*/ 44768 h 40"/>
                <a:gd name="T10" fmla="*/ 51827 w 136"/>
                <a:gd name="T11" fmla="*/ 59690 h 40"/>
                <a:gd name="T12" fmla="*/ 103655 w 136"/>
                <a:gd name="T13" fmla="*/ 74613 h 40"/>
                <a:gd name="T14" fmla="*/ 138206 w 136"/>
                <a:gd name="T15" fmla="*/ 44768 h 40"/>
                <a:gd name="T16" fmla="*/ 172758 w 136"/>
                <a:gd name="T17" fmla="*/ 29845 h 40"/>
                <a:gd name="T18" fmla="*/ 190033 w 136"/>
                <a:gd name="T19" fmla="*/ 44768 h 40"/>
                <a:gd name="T20" fmla="*/ 190033 w 136"/>
                <a:gd name="T21" fmla="*/ 59690 h 40"/>
                <a:gd name="T22" fmla="*/ 224585 w 136"/>
                <a:gd name="T23" fmla="*/ 59690 h 40"/>
                <a:gd name="T24" fmla="*/ 259136 w 136"/>
                <a:gd name="T25" fmla="*/ 59690 h 40"/>
                <a:gd name="T26" fmla="*/ 138206 w 136"/>
                <a:gd name="T27" fmla="*/ 29845 h 40"/>
                <a:gd name="T28" fmla="*/ 138206 w 136"/>
                <a:gd name="T29" fmla="*/ 14923 h 40"/>
                <a:gd name="T30" fmla="*/ 224585 w 136"/>
                <a:gd name="T31" fmla="*/ 29845 h 40"/>
                <a:gd name="T32" fmla="*/ 293688 w 136"/>
                <a:gd name="T33" fmla="*/ 14923 h 40"/>
                <a:gd name="T34" fmla="*/ 276412 w 136"/>
                <a:gd name="T35" fmla="*/ 0 h 40"/>
                <a:gd name="T36" fmla="*/ 155482 w 136"/>
                <a:gd name="T37" fmla="*/ 0 h 40"/>
                <a:gd name="T38" fmla="*/ 86379 w 136"/>
                <a:gd name="T39" fmla="*/ 14923 h 40"/>
                <a:gd name="T40" fmla="*/ 0 w 136"/>
                <a:gd name="T41" fmla="*/ 14923 h 4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36"/>
                <a:gd name="T64" fmla="*/ 0 h 40"/>
                <a:gd name="T65" fmla="*/ 136 w 136"/>
                <a:gd name="T66" fmla="*/ 40 h 4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36" h="40">
                  <a:moveTo>
                    <a:pt x="0" y="8"/>
                  </a:moveTo>
                  <a:lnTo>
                    <a:pt x="8" y="16"/>
                  </a:lnTo>
                  <a:lnTo>
                    <a:pt x="16" y="24"/>
                  </a:lnTo>
                  <a:lnTo>
                    <a:pt x="32" y="24"/>
                  </a:lnTo>
                  <a:lnTo>
                    <a:pt x="24" y="24"/>
                  </a:lnTo>
                  <a:lnTo>
                    <a:pt x="24" y="32"/>
                  </a:lnTo>
                  <a:lnTo>
                    <a:pt x="48" y="40"/>
                  </a:lnTo>
                  <a:lnTo>
                    <a:pt x="64" y="24"/>
                  </a:lnTo>
                  <a:lnTo>
                    <a:pt x="80" y="16"/>
                  </a:lnTo>
                  <a:lnTo>
                    <a:pt x="88" y="24"/>
                  </a:lnTo>
                  <a:lnTo>
                    <a:pt x="88" y="32"/>
                  </a:lnTo>
                  <a:lnTo>
                    <a:pt x="104" y="32"/>
                  </a:lnTo>
                  <a:lnTo>
                    <a:pt x="120" y="32"/>
                  </a:lnTo>
                  <a:lnTo>
                    <a:pt x="64" y="16"/>
                  </a:lnTo>
                  <a:lnTo>
                    <a:pt x="64" y="8"/>
                  </a:lnTo>
                  <a:lnTo>
                    <a:pt x="104" y="16"/>
                  </a:lnTo>
                  <a:lnTo>
                    <a:pt x="136" y="8"/>
                  </a:lnTo>
                  <a:lnTo>
                    <a:pt x="128" y="0"/>
                  </a:lnTo>
                  <a:lnTo>
                    <a:pt x="72" y="0"/>
                  </a:lnTo>
                  <a:lnTo>
                    <a:pt x="4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0" name="Line 288">
              <a:extLst>
                <a:ext uri="{FF2B5EF4-FFF2-40B4-BE49-F238E27FC236}">
                  <a16:creationId xmlns:a16="http://schemas.microsoft.com/office/drawing/2014/main" id="{1B35278E-D0CD-4347-9C0F-D79DFFE74241}"/>
                </a:ext>
              </a:extLst>
            </p:cNvPr>
            <p:cNvSpPr>
              <a:spLocks noChangeShapeType="1"/>
            </p:cNvSpPr>
            <p:nvPr>
              <p:custDataLst>
                <p:tags r:id="rId253"/>
              </p:custDataLst>
            </p:nvPr>
          </p:nvSpPr>
          <p:spPr bwMode="auto">
            <a:xfrm>
              <a:off x="5835651" y="2582863"/>
              <a:ext cx="33338" cy="3175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1" name="Line 289">
              <a:extLst>
                <a:ext uri="{FF2B5EF4-FFF2-40B4-BE49-F238E27FC236}">
                  <a16:creationId xmlns:a16="http://schemas.microsoft.com/office/drawing/2014/main" id="{9895CEC9-733A-C7DC-FA71-55E0A5738F8F}"/>
                </a:ext>
              </a:extLst>
            </p:cNvPr>
            <p:cNvSpPr>
              <a:spLocks noChangeShapeType="1"/>
            </p:cNvSpPr>
            <p:nvPr>
              <p:custDataLst>
                <p:tags r:id="rId254"/>
              </p:custDataLst>
            </p:nvPr>
          </p:nvSpPr>
          <p:spPr bwMode="auto">
            <a:xfrm>
              <a:off x="4676776" y="2997201"/>
              <a:ext cx="17463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2" name="Freeform 290">
              <a:extLst>
                <a:ext uri="{FF2B5EF4-FFF2-40B4-BE49-F238E27FC236}">
                  <a16:creationId xmlns:a16="http://schemas.microsoft.com/office/drawing/2014/main" id="{F4AE1A16-8689-8300-AC1F-AA5AA1E17904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4797426" y="3025776"/>
              <a:ext cx="17463" cy="15875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0 h 8"/>
                <a:gd name="T4" fmla="*/ 0 w 8"/>
                <a:gd name="T5" fmla="*/ 15875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0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3" name="Freeform 291">
              <a:extLst>
                <a:ext uri="{FF2B5EF4-FFF2-40B4-BE49-F238E27FC236}">
                  <a16:creationId xmlns:a16="http://schemas.microsoft.com/office/drawing/2014/main" id="{E711404A-FB5B-253C-4058-4099FAED4546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659313" y="3070226"/>
              <a:ext cx="34925" cy="30163"/>
            </a:xfrm>
            <a:custGeom>
              <a:avLst/>
              <a:gdLst>
                <a:gd name="T0" fmla="*/ 0 w 16"/>
                <a:gd name="T1" fmla="*/ 30163 h 16"/>
                <a:gd name="T2" fmla="*/ 17463 w 16"/>
                <a:gd name="T3" fmla="*/ 30163 h 16"/>
                <a:gd name="T4" fmla="*/ 34925 w 16"/>
                <a:gd name="T5" fmla="*/ 0 h 16"/>
                <a:gd name="T6" fmla="*/ 0 w 16"/>
                <a:gd name="T7" fmla="*/ 15082 h 16"/>
                <a:gd name="T8" fmla="*/ 0 w 16"/>
                <a:gd name="T9" fmla="*/ 30163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6"/>
                <a:gd name="T17" fmla="*/ 16 w 16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6">
                  <a:moveTo>
                    <a:pt x="0" y="16"/>
                  </a:moveTo>
                  <a:lnTo>
                    <a:pt x="8" y="16"/>
                  </a:lnTo>
                  <a:lnTo>
                    <a:pt x="16" y="0"/>
                  </a:lnTo>
                  <a:lnTo>
                    <a:pt x="0" y="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4" name="Freeform 292">
              <a:extLst>
                <a:ext uri="{FF2B5EF4-FFF2-40B4-BE49-F238E27FC236}">
                  <a16:creationId xmlns:a16="http://schemas.microsoft.com/office/drawing/2014/main" id="{A10CEE40-F5C2-1BA6-4461-717CC04BD970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264151" y="3084513"/>
              <a:ext cx="17463" cy="30163"/>
            </a:xfrm>
            <a:custGeom>
              <a:avLst/>
              <a:gdLst>
                <a:gd name="T0" fmla="*/ 0 w 8"/>
                <a:gd name="T1" fmla="*/ 15082 h 16"/>
                <a:gd name="T2" fmla="*/ 0 w 8"/>
                <a:gd name="T3" fmla="*/ 30163 h 16"/>
                <a:gd name="T4" fmla="*/ 0 w 8"/>
                <a:gd name="T5" fmla="*/ 15082 h 16"/>
                <a:gd name="T6" fmla="*/ 17463 w 8"/>
                <a:gd name="T7" fmla="*/ 0 h 16"/>
                <a:gd name="T8" fmla="*/ 0 w 8"/>
                <a:gd name="T9" fmla="*/ 15082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6"/>
                <a:gd name="T17" fmla="*/ 8 w 8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6">
                  <a:moveTo>
                    <a:pt x="0" y="8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5" name="Freeform 293">
              <a:extLst>
                <a:ext uri="{FF2B5EF4-FFF2-40B4-BE49-F238E27FC236}">
                  <a16:creationId xmlns:a16="http://schemas.microsoft.com/office/drawing/2014/main" id="{8B7AF345-3D09-B050-D213-CE8DDD942258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5351463" y="3070226"/>
              <a:ext cx="17463" cy="14288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0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6" name="Freeform 294">
              <a:extLst>
                <a:ext uri="{FF2B5EF4-FFF2-40B4-BE49-F238E27FC236}">
                  <a16:creationId xmlns:a16="http://schemas.microsoft.com/office/drawing/2014/main" id="{9C370314-CBD8-2DD3-A108-A7EB3148FFB3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351463" y="3055938"/>
              <a:ext cx="17463" cy="14288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7" name="Freeform 295">
              <a:extLst>
                <a:ext uri="{FF2B5EF4-FFF2-40B4-BE49-F238E27FC236}">
                  <a16:creationId xmlns:a16="http://schemas.microsoft.com/office/drawing/2014/main" id="{2DE7C2B6-E513-6087-1E7C-04E5439DE65D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4676776" y="3070226"/>
              <a:ext cx="190500" cy="222250"/>
            </a:xfrm>
            <a:custGeom>
              <a:avLst/>
              <a:gdLst>
                <a:gd name="T0" fmla="*/ 0 w 88"/>
                <a:gd name="T1" fmla="*/ 222250 h 120"/>
                <a:gd name="T2" fmla="*/ 17318 w 88"/>
                <a:gd name="T3" fmla="*/ 222250 h 120"/>
                <a:gd name="T4" fmla="*/ 51955 w 88"/>
                <a:gd name="T5" fmla="*/ 222250 h 120"/>
                <a:gd name="T6" fmla="*/ 69273 w 88"/>
                <a:gd name="T7" fmla="*/ 207433 h 120"/>
                <a:gd name="T8" fmla="*/ 86591 w 88"/>
                <a:gd name="T9" fmla="*/ 222250 h 120"/>
                <a:gd name="T10" fmla="*/ 155864 w 88"/>
                <a:gd name="T11" fmla="*/ 207433 h 120"/>
                <a:gd name="T12" fmla="*/ 173182 w 88"/>
                <a:gd name="T13" fmla="*/ 192617 h 120"/>
                <a:gd name="T14" fmla="*/ 155864 w 88"/>
                <a:gd name="T15" fmla="*/ 192617 h 120"/>
                <a:gd name="T16" fmla="*/ 190500 w 88"/>
                <a:gd name="T17" fmla="*/ 162983 h 120"/>
                <a:gd name="T18" fmla="*/ 173182 w 88"/>
                <a:gd name="T19" fmla="*/ 148167 h 120"/>
                <a:gd name="T20" fmla="*/ 138545 w 88"/>
                <a:gd name="T21" fmla="*/ 148167 h 120"/>
                <a:gd name="T22" fmla="*/ 155864 w 88"/>
                <a:gd name="T23" fmla="*/ 148167 h 120"/>
                <a:gd name="T24" fmla="*/ 138545 w 88"/>
                <a:gd name="T25" fmla="*/ 118533 h 120"/>
                <a:gd name="T26" fmla="*/ 121227 w 88"/>
                <a:gd name="T27" fmla="*/ 103717 h 120"/>
                <a:gd name="T28" fmla="*/ 103909 w 88"/>
                <a:gd name="T29" fmla="*/ 74083 h 120"/>
                <a:gd name="T30" fmla="*/ 69273 w 88"/>
                <a:gd name="T31" fmla="*/ 74083 h 120"/>
                <a:gd name="T32" fmla="*/ 103909 w 88"/>
                <a:gd name="T33" fmla="*/ 29633 h 120"/>
                <a:gd name="T34" fmla="*/ 51955 w 88"/>
                <a:gd name="T35" fmla="*/ 29633 h 120"/>
                <a:gd name="T36" fmla="*/ 86591 w 88"/>
                <a:gd name="T37" fmla="*/ 14817 h 120"/>
                <a:gd name="T38" fmla="*/ 86591 w 88"/>
                <a:gd name="T39" fmla="*/ 0 h 120"/>
                <a:gd name="T40" fmla="*/ 34636 w 88"/>
                <a:gd name="T41" fmla="*/ 0 h 120"/>
                <a:gd name="T42" fmla="*/ 17318 w 88"/>
                <a:gd name="T43" fmla="*/ 29633 h 120"/>
                <a:gd name="T44" fmla="*/ 17318 w 88"/>
                <a:gd name="T45" fmla="*/ 44450 h 120"/>
                <a:gd name="T46" fmla="*/ 0 w 88"/>
                <a:gd name="T47" fmla="*/ 59267 h 120"/>
                <a:gd name="T48" fmla="*/ 17318 w 88"/>
                <a:gd name="T49" fmla="*/ 59267 h 120"/>
                <a:gd name="T50" fmla="*/ 17318 w 88"/>
                <a:gd name="T51" fmla="*/ 74083 h 120"/>
                <a:gd name="T52" fmla="*/ 0 w 88"/>
                <a:gd name="T53" fmla="*/ 74083 h 120"/>
                <a:gd name="T54" fmla="*/ 17318 w 88"/>
                <a:gd name="T55" fmla="*/ 74083 h 120"/>
                <a:gd name="T56" fmla="*/ 17318 w 88"/>
                <a:gd name="T57" fmla="*/ 88900 h 120"/>
                <a:gd name="T58" fmla="*/ 34636 w 88"/>
                <a:gd name="T59" fmla="*/ 74083 h 120"/>
                <a:gd name="T60" fmla="*/ 34636 w 88"/>
                <a:gd name="T61" fmla="*/ 88900 h 120"/>
                <a:gd name="T62" fmla="*/ 17318 w 88"/>
                <a:gd name="T63" fmla="*/ 103717 h 120"/>
                <a:gd name="T64" fmla="*/ 34636 w 88"/>
                <a:gd name="T65" fmla="*/ 103717 h 120"/>
                <a:gd name="T66" fmla="*/ 69273 w 88"/>
                <a:gd name="T67" fmla="*/ 103717 h 120"/>
                <a:gd name="T68" fmla="*/ 51955 w 88"/>
                <a:gd name="T69" fmla="*/ 103717 h 120"/>
                <a:gd name="T70" fmla="*/ 86591 w 88"/>
                <a:gd name="T71" fmla="*/ 118533 h 120"/>
                <a:gd name="T72" fmla="*/ 69273 w 88"/>
                <a:gd name="T73" fmla="*/ 148167 h 120"/>
                <a:gd name="T74" fmla="*/ 34636 w 88"/>
                <a:gd name="T75" fmla="*/ 148167 h 120"/>
                <a:gd name="T76" fmla="*/ 34636 w 88"/>
                <a:gd name="T77" fmla="*/ 162983 h 120"/>
                <a:gd name="T78" fmla="*/ 17318 w 88"/>
                <a:gd name="T79" fmla="*/ 177800 h 120"/>
                <a:gd name="T80" fmla="*/ 17318 w 88"/>
                <a:gd name="T81" fmla="*/ 192617 h 120"/>
                <a:gd name="T82" fmla="*/ 51955 w 88"/>
                <a:gd name="T83" fmla="*/ 192617 h 120"/>
                <a:gd name="T84" fmla="*/ 69273 w 88"/>
                <a:gd name="T85" fmla="*/ 192617 h 120"/>
                <a:gd name="T86" fmla="*/ 34636 w 88"/>
                <a:gd name="T87" fmla="*/ 192617 h 120"/>
                <a:gd name="T88" fmla="*/ 0 w 88"/>
                <a:gd name="T89" fmla="*/ 222250 h 12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8"/>
                <a:gd name="T136" fmla="*/ 0 h 120"/>
                <a:gd name="T137" fmla="*/ 88 w 88"/>
                <a:gd name="T138" fmla="*/ 120 h 12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8" h="120">
                  <a:moveTo>
                    <a:pt x="0" y="120"/>
                  </a:moveTo>
                  <a:lnTo>
                    <a:pt x="8" y="120"/>
                  </a:lnTo>
                  <a:lnTo>
                    <a:pt x="24" y="120"/>
                  </a:lnTo>
                  <a:lnTo>
                    <a:pt x="32" y="112"/>
                  </a:lnTo>
                  <a:lnTo>
                    <a:pt x="40" y="120"/>
                  </a:lnTo>
                  <a:lnTo>
                    <a:pt x="72" y="112"/>
                  </a:lnTo>
                  <a:lnTo>
                    <a:pt x="80" y="104"/>
                  </a:lnTo>
                  <a:lnTo>
                    <a:pt x="72" y="104"/>
                  </a:lnTo>
                  <a:lnTo>
                    <a:pt x="88" y="88"/>
                  </a:lnTo>
                  <a:lnTo>
                    <a:pt x="80" y="80"/>
                  </a:lnTo>
                  <a:lnTo>
                    <a:pt x="64" y="80"/>
                  </a:lnTo>
                  <a:lnTo>
                    <a:pt x="72" y="80"/>
                  </a:lnTo>
                  <a:lnTo>
                    <a:pt x="64" y="64"/>
                  </a:lnTo>
                  <a:lnTo>
                    <a:pt x="56" y="56"/>
                  </a:lnTo>
                  <a:lnTo>
                    <a:pt x="48" y="40"/>
                  </a:lnTo>
                  <a:lnTo>
                    <a:pt x="32" y="40"/>
                  </a:lnTo>
                  <a:lnTo>
                    <a:pt x="48" y="16"/>
                  </a:lnTo>
                  <a:lnTo>
                    <a:pt x="24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16" y="0"/>
                  </a:lnTo>
                  <a:lnTo>
                    <a:pt x="8" y="16"/>
                  </a:lnTo>
                  <a:lnTo>
                    <a:pt x="8" y="24"/>
                  </a:lnTo>
                  <a:lnTo>
                    <a:pt x="0" y="32"/>
                  </a:lnTo>
                  <a:lnTo>
                    <a:pt x="8" y="32"/>
                  </a:lnTo>
                  <a:lnTo>
                    <a:pt x="8" y="40"/>
                  </a:lnTo>
                  <a:lnTo>
                    <a:pt x="0" y="40"/>
                  </a:lnTo>
                  <a:lnTo>
                    <a:pt x="8" y="40"/>
                  </a:lnTo>
                  <a:lnTo>
                    <a:pt x="8" y="48"/>
                  </a:lnTo>
                  <a:lnTo>
                    <a:pt x="16" y="40"/>
                  </a:lnTo>
                  <a:lnTo>
                    <a:pt x="16" y="48"/>
                  </a:lnTo>
                  <a:lnTo>
                    <a:pt x="8" y="56"/>
                  </a:lnTo>
                  <a:lnTo>
                    <a:pt x="16" y="56"/>
                  </a:lnTo>
                  <a:lnTo>
                    <a:pt x="32" y="56"/>
                  </a:lnTo>
                  <a:lnTo>
                    <a:pt x="24" y="56"/>
                  </a:lnTo>
                  <a:lnTo>
                    <a:pt x="40" y="64"/>
                  </a:lnTo>
                  <a:lnTo>
                    <a:pt x="32" y="80"/>
                  </a:lnTo>
                  <a:lnTo>
                    <a:pt x="16" y="80"/>
                  </a:lnTo>
                  <a:lnTo>
                    <a:pt x="16" y="88"/>
                  </a:lnTo>
                  <a:lnTo>
                    <a:pt x="8" y="96"/>
                  </a:lnTo>
                  <a:lnTo>
                    <a:pt x="8" y="104"/>
                  </a:lnTo>
                  <a:lnTo>
                    <a:pt x="24" y="104"/>
                  </a:lnTo>
                  <a:lnTo>
                    <a:pt x="32" y="104"/>
                  </a:lnTo>
                  <a:lnTo>
                    <a:pt x="16" y="104"/>
                  </a:lnTo>
                  <a:lnTo>
                    <a:pt x="0" y="1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8" name="Freeform 296">
              <a:extLst>
                <a:ext uri="{FF2B5EF4-FFF2-40B4-BE49-F238E27FC236}">
                  <a16:creationId xmlns:a16="http://schemas.microsoft.com/office/drawing/2014/main" id="{5C00DC7C-8BC1-6525-6E13-A0A0269BD116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5022851" y="3498851"/>
              <a:ext cx="17463" cy="44450"/>
            </a:xfrm>
            <a:custGeom>
              <a:avLst/>
              <a:gdLst>
                <a:gd name="T0" fmla="*/ 0 w 8"/>
                <a:gd name="T1" fmla="*/ 0 h 24"/>
                <a:gd name="T2" fmla="*/ 0 w 8"/>
                <a:gd name="T3" fmla="*/ 29633 h 24"/>
                <a:gd name="T4" fmla="*/ 17463 w 8"/>
                <a:gd name="T5" fmla="*/ 44450 h 24"/>
                <a:gd name="T6" fmla="*/ 17463 w 8"/>
                <a:gd name="T7" fmla="*/ 0 h 24"/>
                <a:gd name="T8" fmla="*/ 0 w 8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4"/>
                <a:gd name="T17" fmla="*/ 8 w 8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4">
                  <a:moveTo>
                    <a:pt x="0" y="0"/>
                  </a:moveTo>
                  <a:lnTo>
                    <a:pt x="0" y="16"/>
                  </a:lnTo>
                  <a:lnTo>
                    <a:pt x="8" y="24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9" name="Freeform 297">
              <a:extLst>
                <a:ext uri="{FF2B5EF4-FFF2-40B4-BE49-F238E27FC236}">
                  <a16:creationId xmlns:a16="http://schemas.microsoft.com/office/drawing/2014/main" id="{4C32D36A-60D3-1C8B-0859-AD4E0CD2D885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5005388" y="3543301"/>
              <a:ext cx="50800" cy="58738"/>
            </a:xfrm>
            <a:custGeom>
              <a:avLst/>
              <a:gdLst>
                <a:gd name="T0" fmla="*/ 0 w 24"/>
                <a:gd name="T1" fmla="*/ 0 h 32"/>
                <a:gd name="T2" fmla="*/ 16933 w 24"/>
                <a:gd name="T3" fmla="*/ 58738 h 32"/>
                <a:gd name="T4" fmla="*/ 50800 w 24"/>
                <a:gd name="T5" fmla="*/ 58738 h 32"/>
                <a:gd name="T6" fmla="*/ 50800 w 24"/>
                <a:gd name="T7" fmla="*/ 14685 h 32"/>
                <a:gd name="T8" fmla="*/ 33867 w 24"/>
                <a:gd name="T9" fmla="*/ 0 h 32"/>
                <a:gd name="T10" fmla="*/ 0 w 24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32"/>
                <a:gd name="T20" fmla="*/ 24 w 24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32">
                  <a:moveTo>
                    <a:pt x="0" y="0"/>
                  </a:moveTo>
                  <a:lnTo>
                    <a:pt x="8" y="32"/>
                  </a:lnTo>
                  <a:lnTo>
                    <a:pt x="24" y="32"/>
                  </a:lnTo>
                  <a:lnTo>
                    <a:pt x="24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0" name="Freeform 298">
              <a:extLst>
                <a:ext uri="{FF2B5EF4-FFF2-40B4-BE49-F238E27FC236}">
                  <a16:creationId xmlns:a16="http://schemas.microsoft.com/office/drawing/2014/main" id="{6FDC5A7A-204C-35AA-7C49-43FA19DCC230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5126038" y="3616326"/>
              <a:ext cx="85725" cy="44450"/>
            </a:xfrm>
            <a:custGeom>
              <a:avLst/>
              <a:gdLst>
                <a:gd name="T0" fmla="*/ 0 w 40"/>
                <a:gd name="T1" fmla="*/ 14817 h 24"/>
                <a:gd name="T2" fmla="*/ 0 w 40"/>
                <a:gd name="T3" fmla="*/ 29633 h 24"/>
                <a:gd name="T4" fmla="*/ 68580 w 40"/>
                <a:gd name="T5" fmla="*/ 44450 h 24"/>
                <a:gd name="T6" fmla="*/ 85725 w 40"/>
                <a:gd name="T7" fmla="*/ 0 h 24"/>
                <a:gd name="T8" fmla="*/ 51435 w 40"/>
                <a:gd name="T9" fmla="*/ 14817 h 24"/>
                <a:gd name="T10" fmla="*/ 17145 w 40"/>
                <a:gd name="T11" fmla="*/ 14817 h 24"/>
                <a:gd name="T12" fmla="*/ 0 w 40"/>
                <a:gd name="T13" fmla="*/ 14817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0"/>
                <a:gd name="T22" fmla="*/ 0 h 24"/>
                <a:gd name="T23" fmla="*/ 40 w 40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0" h="24">
                  <a:moveTo>
                    <a:pt x="0" y="8"/>
                  </a:moveTo>
                  <a:lnTo>
                    <a:pt x="0" y="16"/>
                  </a:lnTo>
                  <a:lnTo>
                    <a:pt x="32" y="24"/>
                  </a:lnTo>
                  <a:lnTo>
                    <a:pt x="40" y="0"/>
                  </a:lnTo>
                  <a:lnTo>
                    <a:pt x="24" y="8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1" name="Freeform 299">
              <a:extLst>
                <a:ext uri="{FF2B5EF4-FFF2-40B4-BE49-F238E27FC236}">
                  <a16:creationId xmlns:a16="http://schemas.microsoft.com/office/drawing/2014/main" id="{03763F83-7465-E252-95CC-8E5038EFBB0D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5368926" y="3616326"/>
              <a:ext cx="50800" cy="58738"/>
            </a:xfrm>
            <a:custGeom>
              <a:avLst/>
              <a:gdLst>
                <a:gd name="T0" fmla="*/ 0 w 24"/>
                <a:gd name="T1" fmla="*/ 14685 h 32"/>
                <a:gd name="T2" fmla="*/ 0 w 24"/>
                <a:gd name="T3" fmla="*/ 29369 h 32"/>
                <a:gd name="T4" fmla="*/ 16933 w 24"/>
                <a:gd name="T5" fmla="*/ 44053 h 32"/>
                <a:gd name="T6" fmla="*/ 33867 w 24"/>
                <a:gd name="T7" fmla="*/ 58738 h 32"/>
                <a:gd name="T8" fmla="*/ 33867 w 24"/>
                <a:gd name="T9" fmla="*/ 44053 h 32"/>
                <a:gd name="T10" fmla="*/ 50800 w 24"/>
                <a:gd name="T11" fmla="*/ 58738 h 32"/>
                <a:gd name="T12" fmla="*/ 33867 w 24"/>
                <a:gd name="T13" fmla="*/ 29369 h 32"/>
                <a:gd name="T14" fmla="*/ 50800 w 24"/>
                <a:gd name="T15" fmla="*/ 29369 h 32"/>
                <a:gd name="T16" fmla="*/ 33867 w 24"/>
                <a:gd name="T17" fmla="*/ 14685 h 32"/>
                <a:gd name="T18" fmla="*/ 16933 w 24"/>
                <a:gd name="T19" fmla="*/ 0 h 32"/>
                <a:gd name="T20" fmla="*/ 0 w 24"/>
                <a:gd name="T21" fmla="*/ 14685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4"/>
                <a:gd name="T34" fmla="*/ 0 h 32"/>
                <a:gd name="T35" fmla="*/ 24 w 24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4" h="32">
                  <a:moveTo>
                    <a:pt x="0" y="8"/>
                  </a:moveTo>
                  <a:lnTo>
                    <a:pt x="0" y="16"/>
                  </a:lnTo>
                  <a:lnTo>
                    <a:pt x="8" y="24"/>
                  </a:lnTo>
                  <a:lnTo>
                    <a:pt x="16" y="32"/>
                  </a:lnTo>
                  <a:lnTo>
                    <a:pt x="16" y="24"/>
                  </a:lnTo>
                  <a:lnTo>
                    <a:pt x="24" y="32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2" name="Freeform 300">
              <a:extLst>
                <a:ext uri="{FF2B5EF4-FFF2-40B4-BE49-F238E27FC236}">
                  <a16:creationId xmlns:a16="http://schemas.microsoft.com/office/drawing/2014/main" id="{6A0B08CF-D0C2-54DA-291E-DEA24046CFDB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5437188" y="3689351"/>
              <a:ext cx="69850" cy="30163"/>
            </a:xfrm>
            <a:custGeom>
              <a:avLst/>
              <a:gdLst>
                <a:gd name="T0" fmla="*/ 0 w 32"/>
                <a:gd name="T1" fmla="*/ 15082 h 16"/>
                <a:gd name="T2" fmla="*/ 34925 w 32"/>
                <a:gd name="T3" fmla="*/ 30163 h 16"/>
                <a:gd name="T4" fmla="*/ 69850 w 32"/>
                <a:gd name="T5" fmla="*/ 30163 h 16"/>
                <a:gd name="T6" fmla="*/ 69850 w 32"/>
                <a:gd name="T7" fmla="*/ 15082 h 16"/>
                <a:gd name="T8" fmla="*/ 52387 w 32"/>
                <a:gd name="T9" fmla="*/ 15082 h 16"/>
                <a:gd name="T10" fmla="*/ 0 w 32"/>
                <a:gd name="T11" fmla="*/ 0 h 16"/>
                <a:gd name="T12" fmla="*/ 0 w 32"/>
                <a:gd name="T13" fmla="*/ 15082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16"/>
                <a:gd name="T23" fmla="*/ 32 w 32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16">
                  <a:moveTo>
                    <a:pt x="0" y="8"/>
                  </a:moveTo>
                  <a:lnTo>
                    <a:pt x="16" y="16"/>
                  </a:lnTo>
                  <a:lnTo>
                    <a:pt x="32" y="16"/>
                  </a:lnTo>
                  <a:lnTo>
                    <a:pt x="32" y="8"/>
                  </a:lnTo>
                  <a:lnTo>
                    <a:pt x="24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3" name="Freeform 301">
              <a:extLst>
                <a:ext uri="{FF2B5EF4-FFF2-40B4-BE49-F238E27FC236}">
                  <a16:creationId xmlns:a16="http://schemas.microsoft.com/office/drawing/2014/main" id="{925B190C-1806-8203-C16A-D7C0FB405537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662613" y="3689351"/>
              <a:ext cx="68263" cy="30163"/>
            </a:xfrm>
            <a:custGeom>
              <a:avLst/>
              <a:gdLst>
                <a:gd name="T0" fmla="*/ 0 w 32"/>
                <a:gd name="T1" fmla="*/ 30163 h 16"/>
                <a:gd name="T2" fmla="*/ 17066 w 32"/>
                <a:gd name="T3" fmla="*/ 30163 h 16"/>
                <a:gd name="T4" fmla="*/ 34132 w 32"/>
                <a:gd name="T5" fmla="*/ 30163 h 16"/>
                <a:gd name="T6" fmla="*/ 51197 w 32"/>
                <a:gd name="T7" fmla="*/ 30163 h 16"/>
                <a:gd name="T8" fmla="*/ 51197 w 32"/>
                <a:gd name="T9" fmla="*/ 15082 h 16"/>
                <a:gd name="T10" fmla="*/ 68263 w 32"/>
                <a:gd name="T11" fmla="*/ 0 h 16"/>
                <a:gd name="T12" fmla="*/ 0 w 32"/>
                <a:gd name="T13" fmla="*/ 30163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16"/>
                <a:gd name="T23" fmla="*/ 32 w 32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16">
                  <a:moveTo>
                    <a:pt x="0" y="16"/>
                  </a:moveTo>
                  <a:lnTo>
                    <a:pt x="8" y="16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32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4" name="Freeform 302">
              <a:extLst>
                <a:ext uri="{FF2B5EF4-FFF2-40B4-BE49-F238E27FC236}">
                  <a16:creationId xmlns:a16="http://schemas.microsoft.com/office/drawing/2014/main" id="{598B9517-1E3D-7CEF-552D-457E9E35CA75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4849813" y="3571876"/>
              <a:ext cx="34925" cy="30163"/>
            </a:xfrm>
            <a:custGeom>
              <a:avLst/>
              <a:gdLst>
                <a:gd name="T0" fmla="*/ 0 w 16"/>
                <a:gd name="T1" fmla="*/ 15082 h 16"/>
                <a:gd name="T2" fmla="*/ 34925 w 16"/>
                <a:gd name="T3" fmla="*/ 30163 h 16"/>
                <a:gd name="T4" fmla="*/ 34925 w 16"/>
                <a:gd name="T5" fmla="*/ 15082 h 16"/>
                <a:gd name="T6" fmla="*/ 17463 w 16"/>
                <a:gd name="T7" fmla="*/ 0 h 16"/>
                <a:gd name="T8" fmla="*/ 0 w 16"/>
                <a:gd name="T9" fmla="*/ 15082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6"/>
                <a:gd name="T17" fmla="*/ 16 w 16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6">
                  <a:moveTo>
                    <a:pt x="0" y="8"/>
                  </a:moveTo>
                  <a:lnTo>
                    <a:pt x="16" y="16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5" name="Freeform 303">
              <a:extLst>
                <a:ext uri="{FF2B5EF4-FFF2-40B4-BE49-F238E27FC236}">
                  <a16:creationId xmlns:a16="http://schemas.microsoft.com/office/drawing/2014/main" id="{43935528-4F56-217C-B47E-4A1D63D1B4CE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4313238" y="3897313"/>
              <a:ext cx="17463" cy="14288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14288 h 8"/>
                <a:gd name="T4" fmla="*/ 17463 w 8"/>
                <a:gd name="T5" fmla="*/ 0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6" name="Freeform 304">
              <a:extLst>
                <a:ext uri="{FF2B5EF4-FFF2-40B4-BE49-F238E27FC236}">
                  <a16:creationId xmlns:a16="http://schemas.microsoft.com/office/drawing/2014/main" id="{39056896-A757-D622-8B9B-2B65AF7A1692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383088" y="3881438"/>
              <a:ext cx="33338" cy="30163"/>
            </a:xfrm>
            <a:custGeom>
              <a:avLst/>
              <a:gdLst>
                <a:gd name="T0" fmla="*/ 0 w 16"/>
                <a:gd name="T1" fmla="*/ 30163 h 16"/>
                <a:gd name="T2" fmla="*/ 16669 w 16"/>
                <a:gd name="T3" fmla="*/ 15082 h 16"/>
                <a:gd name="T4" fmla="*/ 16669 w 16"/>
                <a:gd name="T5" fmla="*/ 0 h 16"/>
                <a:gd name="T6" fmla="*/ 33338 w 16"/>
                <a:gd name="T7" fmla="*/ 0 h 16"/>
                <a:gd name="T8" fmla="*/ 0 w 16"/>
                <a:gd name="T9" fmla="*/ 30163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6"/>
                <a:gd name="T17" fmla="*/ 16 w 16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6">
                  <a:moveTo>
                    <a:pt x="0" y="16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16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7" name="Freeform 305">
              <a:extLst>
                <a:ext uri="{FF2B5EF4-FFF2-40B4-BE49-F238E27FC236}">
                  <a16:creationId xmlns:a16="http://schemas.microsoft.com/office/drawing/2014/main" id="{3E1353C5-13FC-B9B7-8B51-FAAE5DA8AE5F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7943851" y="4987926"/>
              <a:ext cx="1123950" cy="796925"/>
            </a:xfrm>
            <a:custGeom>
              <a:avLst/>
              <a:gdLst>
                <a:gd name="T0" fmla="*/ 17292 w 520"/>
                <a:gd name="T1" fmla="*/ 678862 h 432"/>
                <a:gd name="T2" fmla="*/ 138332 w 520"/>
                <a:gd name="T3" fmla="*/ 649346 h 432"/>
                <a:gd name="T4" fmla="*/ 242081 w 520"/>
                <a:gd name="T5" fmla="*/ 619831 h 432"/>
                <a:gd name="T6" fmla="*/ 466871 w 520"/>
                <a:gd name="T7" fmla="*/ 590315 h 432"/>
                <a:gd name="T8" fmla="*/ 536038 w 520"/>
                <a:gd name="T9" fmla="*/ 634588 h 432"/>
                <a:gd name="T10" fmla="*/ 622495 w 520"/>
                <a:gd name="T11" fmla="*/ 619831 h 432"/>
                <a:gd name="T12" fmla="*/ 570621 w 520"/>
                <a:gd name="T13" fmla="*/ 693620 h 432"/>
                <a:gd name="T14" fmla="*/ 622495 w 520"/>
                <a:gd name="T15" fmla="*/ 664104 h 432"/>
                <a:gd name="T16" fmla="*/ 605204 w 520"/>
                <a:gd name="T17" fmla="*/ 693620 h 432"/>
                <a:gd name="T18" fmla="*/ 622495 w 520"/>
                <a:gd name="T19" fmla="*/ 708378 h 432"/>
                <a:gd name="T20" fmla="*/ 622495 w 520"/>
                <a:gd name="T21" fmla="*/ 737894 h 432"/>
                <a:gd name="T22" fmla="*/ 674370 w 520"/>
                <a:gd name="T23" fmla="*/ 782167 h 432"/>
                <a:gd name="T24" fmla="*/ 743536 w 520"/>
                <a:gd name="T25" fmla="*/ 752651 h 432"/>
                <a:gd name="T26" fmla="*/ 760828 w 520"/>
                <a:gd name="T27" fmla="*/ 767409 h 432"/>
                <a:gd name="T28" fmla="*/ 760828 w 520"/>
                <a:gd name="T29" fmla="*/ 796925 h 432"/>
                <a:gd name="T30" fmla="*/ 881868 w 520"/>
                <a:gd name="T31" fmla="*/ 752651 h 432"/>
                <a:gd name="T32" fmla="*/ 1072075 w 520"/>
                <a:gd name="T33" fmla="*/ 575557 h 432"/>
                <a:gd name="T34" fmla="*/ 1123950 w 520"/>
                <a:gd name="T35" fmla="*/ 427978 h 432"/>
                <a:gd name="T36" fmla="*/ 1089367 w 520"/>
                <a:gd name="T37" fmla="*/ 354189 h 432"/>
                <a:gd name="T38" fmla="*/ 1072075 w 520"/>
                <a:gd name="T39" fmla="*/ 324673 h 432"/>
                <a:gd name="T40" fmla="*/ 1020201 w 520"/>
                <a:gd name="T41" fmla="*/ 250884 h 432"/>
                <a:gd name="T42" fmla="*/ 1002909 w 520"/>
                <a:gd name="T43" fmla="*/ 191852 h 432"/>
                <a:gd name="T44" fmla="*/ 985617 w 520"/>
                <a:gd name="T45" fmla="*/ 118063 h 432"/>
                <a:gd name="T46" fmla="*/ 951034 w 520"/>
                <a:gd name="T47" fmla="*/ 103305 h 432"/>
                <a:gd name="T48" fmla="*/ 916451 w 520"/>
                <a:gd name="T49" fmla="*/ 0 h 432"/>
                <a:gd name="T50" fmla="*/ 881868 w 520"/>
                <a:gd name="T51" fmla="*/ 147579 h 432"/>
                <a:gd name="T52" fmla="*/ 829994 w 520"/>
                <a:gd name="T53" fmla="*/ 191852 h 432"/>
                <a:gd name="T54" fmla="*/ 795411 w 520"/>
                <a:gd name="T55" fmla="*/ 177094 h 432"/>
                <a:gd name="T56" fmla="*/ 726245 w 520"/>
                <a:gd name="T57" fmla="*/ 147579 h 432"/>
                <a:gd name="T58" fmla="*/ 708953 w 520"/>
                <a:gd name="T59" fmla="*/ 118063 h 432"/>
                <a:gd name="T60" fmla="*/ 726245 w 520"/>
                <a:gd name="T61" fmla="*/ 73789 h 432"/>
                <a:gd name="T62" fmla="*/ 760828 w 520"/>
                <a:gd name="T63" fmla="*/ 44274 h 432"/>
                <a:gd name="T64" fmla="*/ 726245 w 520"/>
                <a:gd name="T65" fmla="*/ 59031 h 432"/>
                <a:gd name="T66" fmla="*/ 708953 w 520"/>
                <a:gd name="T67" fmla="*/ 44274 h 432"/>
                <a:gd name="T68" fmla="*/ 639787 w 520"/>
                <a:gd name="T69" fmla="*/ 29516 h 432"/>
                <a:gd name="T70" fmla="*/ 587912 w 520"/>
                <a:gd name="T71" fmla="*/ 44274 h 432"/>
                <a:gd name="T72" fmla="*/ 570621 w 520"/>
                <a:gd name="T73" fmla="*/ 88547 h 432"/>
                <a:gd name="T74" fmla="*/ 536038 w 520"/>
                <a:gd name="T75" fmla="*/ 103305 h 432"/>
                <a:gd name="T76" fmla="*/ 536038 w 520"/>
                <a:gd name="T77" fmla="*/ 132821 h 432"/>
                <a:gd name="T78" fmla="*/ 501455 w 520"/>
                <a:gd name="T79" fmla="*/ 132821 h 432"/>
                <a:gd name="T80" fmla="*/ 484163 w 520"/>
                <a:gd name="T81" fmla="*/ 88547 h 432"/>
                <a:gd name="T82" fmla="*/ 432288 w 520"/>
                <a:gd name="T83" fmla="*/ 118063 h 432"/>
                <a:gd name="T84" fmla="*/ 380414 w 520"/>
                <a:gd name="T85" fmla="*/ 162337 h 432"/>
                <a:gd name="T86" fmla="*/ 363122 w 520"/>
                <a:gd name="T87" fmla="*/ 162337 h 432"/>
                <a:gd name="T88" fmla="*/ 345831 w 520"/>
                <a:gd name="T89" fmla="*/ 191852 h 432"/>
                <a:gd name="T90" fmla="*/ 311248 w 520"/>
                <a:gd name="T91" fmla="*/ 191852 h 432"/>
                <a:gd name="T92" fmla="*/ 259373 w 520"/>
                <a:gd name="T93" fmla="*/ 250884 h 432"/>
                <a:gd name="T94" fmla="*/ 69166 w 520"/>
                <a:gd name="T95" fmla="*/ 324673 h 432"/>
                <a:gd name="T96" fmla="*/ 51875 w 520"/>
                <a:gd name="T97" fmla="*/ 339431 h 432"/>
                <a:gd name="T98" fmla="*/ 34583 w 520"/>
                <a:gd name="T99" fmla="*/ 368947 h 432"/>
                <a:gd name="T100" fmla="*/ 17292 w 520"/>
                <a:gd name="T101" fmla="*/ 413220 h 432"/>
                <a:gd name="T102" fmla="*/ 17292 w 520"/>
                <a:gd name="T103" fmla="*/ 427978 h 432"/>
                <a:gd name="T104" fmla="*/ 34583 w 520"/>
                <a:gd name="T105" fmla="*/ 590315 h 432"/>
                <a:gd name="T106" fmla="*/ 0 w 520"/>
                <a:gd name="T107" fmla="*/ 634588 h 43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0"/>
                <a:gd name="T163" fmla="*/ 0 h 432"/>
                <a:gd name="T164" fmla="*/ 520 w 520"/>
                <a:gd name="T165" fmla="*/ 432 h 43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0" h="432">
                  <a:moveTo>
                    <a:pt x="0" y="360"/>
                  </a:moveTo>
                  <a:lnTo>
                    <a:pt x="8" y="368"/>
                  </a:lnTo>
                  <a:lnTo>
                    <a:pt x="32" y="368"/>
                  </a:lnTo>
                  <a:lnTo>
                    <a:pt x="64" y="352"/>
                  </a:lnTo>
                  <a:lnTo>
                    <a:pt x="104" y="352"/>
                  </a:lnTo>
                  <a:lnTo>
                    <a:pt x="112" y="336"/>
                  </a:lnTo>
                  <a:lnTo>
                    <a:pt x="144" y="328"/>
                  </a:lnTo>
                  <a:lnTo>
                    <a:pt x="216" y="320"/>
                  </a:lnTo>
                  <a:lnTo>
                    <a:pt x="248" y="336"/>
                  </a:lnTo>
                  <a:lnTo>
                    <a:pt x="248" y="344"/>
                  </a:lnTo>
                  <a:lnTo>
                    <a:pt x="248" y="368"/>
                  </a:lnTo>
                  <a:lnTo>
                    <a:pt x="288" y="336"/>
                  </a:lnTo>
                  <a:lnTo>
                    <a:pt x="288" y="344"/>
                  </a:lnTo>
                  <a:lnTo>
                    <a:pt x="264" y="376"/>
                  </a:lnTo>
                  <a:lnTo>
                    <a:pt x="272" y="368"/>
                  </a:lnTo>
                  <a:lnTo>
                    <a:pt x="288" y="360"/>
                  </a:lnTo>
                  <a:lnTo>
                    <a:pt x="288" y="368"/>
                  </a:lnTo>
                  <a:lnTo>
                    <a:pt x="280" y="376"/>
                  </a:lnTo>
                  <a:lnTo>
                    <a:pt x="288" y="376"/>
                  </a:lnTo>
                  <a:lnTo>
                    <a:pt x="288" y="384"/>
                  </a:lnTo>
                  <a:lnTo>
                    <a:pt x="296" y="392"/>
                  </a:lnTo>
                  <a:lnTo>
                    <a:pt x="288" y="400"/>
                  </a:lnTo>
                  <a:lnTo>
                    <a:pt x="296" y="424"/>
                  </a:lnTo>
                  <a:lnTo>
                    <a:pt x="312" y="424"/>
                  </a:lnTo>
                  <a:lnTo>
                    <a:pt x="320" y="424"/>
                  </a:lnTo>
                  <a:lnTo>
                    <a:pt x="344" y="408"/>
                  </a:lnTo>
                  <a:lnTo>
                    <a:pt x="344" y="424"/>
                  </a:lnTo>
                  <a:lnTo>
                    <a:pt x="352" y="416"/>
                  </a:lnTo>
                  <a:lnTo>
                    <a:pt x="352" y="424"/>
                  </a:lnTo>
                  <a:lnTo>
                    <a:pt x="352" y="432"/>
                  </a:lnTo>
                  <a:lnTo>
                    <a:pt x="384" y="416"/>
                  </a:lnTo>
                  <a:lnTo>
                    <a:pt x="408" y="408"/>
                  </a:lnTo>
                  <a:lnTo>
                    <a:pt x="432" y="384"/>
                  </a:lnTo>
                  <a:lnTo>
                    <a:pt x="496" y="312"/>
                  </a:lnTo>
                  <a:lnTo>
                    <a:pt x="520" y="272"/>
                  </a:lnTo>
                  <a:lnTo>
                    <a:pt x="520" y="232"/>
                  </a:lnTo>
                  <a:lnTo>
                    <a:pt x="512" y="200"/>
                  </a:lnTo>
                  <a:lnTo>
                    <a:pt x="504" y="192"/>
                  </a:lnTo>
                  <a:lnTo>
                    <a:pt x="504" y="184"/>
                  </a:lnTo>
                  <a:lnTo>
                    <a:pt x="496" y="176"/>
                  </a:lnTo>
                  <a:lnTo>
                    <a:pt x="488" y="144"/>
                  </a:lnTo>
                  <a:lnTo>
                    <a:pt x="472" y="136"/>
                  </a:lnTo>
                  <a:lnTo>
                    <a:pt x="464" y="128"/>
                  </a:lnTo>
                  <a:lnTo>
                    <a:pt x="464" y="104"/>
                  </a:lnTo>
                  <a:lnTo>
                    <a:pt x="456" y="88"/>
                  </a:lnTo>
                  <a:lnTo>
                    <a:pt x="456" y="64"/>
                  </a:lnTo>
                  <a:lnTo>
                    <a:pt x="448" y="56"/>
                  </a:lnTo>
                  <a:lnTo>
                    <a:pt x="440" y="56"/>
                  </a:lnTo>
                  <a:lnTo>
                    <a:pt x="432" y="8"/>
                  </a:lnTo>
                  <a:lnTo>
                    <a:pt x="424" y="0"/>
                  </a:lnTo>
                  <a:lnTo>
                    <a:pt x="424" y="8"/>
                  </a:lnTo>
                  <a:lnTo>
                    <a:pt x="408" y="80"/>
                  </a:lnTo>
                  <a:lnTo>
                    <a:pt x="392" y="104"/>
                  </a:lnTo>
                  <a:lnTo>
                    <a:pt x="384" y="104"/>
                  </a:lnTo>
                  <a:lnTo>
                    <a:pt x="376" y="112"/>
                  </a:lnTo>
                  <a:lnTo>
                    <a:pt x="368" y="96"/>
                  </a:lnTo>
                  <a:lnTo>
                    <a:pt x="352" y="80"/>
                  </a:lnTo>
                  <a:lnTo>
                    <a:pt x="336" y="80"/>
                  </a:lnTo>
                  <a:lnTo>
                    <a:pt x="336" y="72"/>
                  </a:lnTo>
                  <a:lnTo>
                    <a:pt x="328" y="64"/>
                  </a:lnTo>
                  <a:lnTo>
                    <a:pt x="336" y="56"/>
                  </a:lnTo>
                  <a:lnTo>
                    <a:pt x="336" y="40"/>
                  </a:lnTo>
                  <a:lnTo>
                    <a:pt x="344" y="40"/>
                  </a:lnTo>
                  <a:lnTo>
                    <a:pt x="352" y="24"/>
                  </a:lnTo>
                  <a:lnTo>
                    <a:pt x="344" y="24"/>
                  </a:lnTo>
                  <a:lnTo>
                    <a:pt x="336" y="32"/>
                  </a:lnTo>
                  <a:lnTo>
                    <a:pt x="336" y="24"/>
                  </a:lnTo>
                  <a:lnTo>
                    <a:pt x="328" y="24"/>
                  </a:lnTo>
                  <a:lnTo>
                    <a:pt x="296" y="8"/>
                  </a:lnTo>
                  <a:lnTo>
                    <a:pt x="296" y="16"/>
                  </a:lnTo>
                  <a:lnTo>
                    <a:pt x="288" y="24"/>
                  </a:lnTo>
                  <a:lnTo>
                    <a:pt x="272" y="24"/>
                  </a:lnTo>
                  <a:lnTo>
                    <a:pt x="264" y="32"/>
                  </a:lnTo>
                  <a:lnTo>
                    <a:pt x="264" y="48"/>
                  </a:lnTo>
                  <a:lnTo>
                    <a:pt x="256" y="48"/>
                  </a:lnTo>
                  <a:lnTo>
                    <a:pt x="248" y="56"/>
                  </a:lnTo>
                  <a:lnTo>
                    <a:pt x="256" y="64"/>
                  </a:lnTo>
                  <a:lnTo>
                    <a:pt x="248" y="72"/>
                  </a:lnTo>
                  <a:lnTo>
                    <a:pt x="240" y="64"/>
                  </a:lnTo>
                  <a:lnTo>
                    <a:pt x="232" y="72"/>
                  </a:lnTo>
                  <a:lnTo>
                    <a:pt x="224" y="56"/>
                  </a:lnTo>
                  <a:lnTo>
                    <a:pt x="224" y="48"/>
                  </a:lnTo>
                  <a:lnTo>
                    <a:pt x="216" y="48"/>
                  </a:lnTo>
                  <a:lnTo>
                    <a:pt x="200" y="64"/>
                  </a:lnTo>
                  <a:lnTo>
                    <a:pt x="192" y="64"/>
                  </a:lnTo>
                  <a:lnTo>
                    <a:pt x="176" y="88"/>
                  </a:lnTo>
                  <a:lnTo>
                    <a:pt x="168" y="80"/>
                  </a:lnTo>
                  <a:lnTo>
                    <a:pt x="168" y="88"/>
                  </a:lnTo>
                  <a:lnTo>
                    <a:pt x="168" y="96"/>
                  </a:lnTo>
                  <a:lnTo>
                    <a:pt x="160" y="104"/>
                  </a:lnTo>
                  <a:lnTo>
                    <a:pt x="160" y="88"/>
                  </a:lnTo>
                  <a:lnTo>
                    <a:pt x="144" y="104"/>
                  </a:lnTo>
                  <a:lnTo>
                    <a:pt x="144" y="112"/>
                  </a:lnTo>
                  <a:lnTo>
                    <a:pt x="120" y="136"/>
                  </a:lnTo>
                  <a:lnTo>
                    <a:pt x="56" y="152"/>
                  </a:lnTo>
                  <a:lnTo>
                    <a:pt x="32" y="176"/>
                  </a:lnTo>
                  <a:lnTo>
                    <a:pt x="32" y="168"/>
                  </a:lnTo>
                  <a:lnTo>
                    <a:pt x="24" y="184"/>
                  </a:lnTo>
                  <a:lnTo>
                    <a:pt x="24" y="192"/>
                  </a:lnTo>
                  <a:lnTo>
                    <a:pt x="16" y="200"/>
                  </a:lnTo>
                  <a:lnTo>
                    <a:pt x="16" y="240"/>
                  </a:lnTo>
                  <a:lnTo>
                    <a:pt x="8" y="224"/>
                  </a:lnTo>
                  <a:lnTo>
                    <a:pt x="8" y="240"/>
                  </a:lnTo>
                  <a:lnTo>
                    <a:pt x="8" y="232"/>
                  </a:lnTo>
                  <a:lnTo>
                    <a:pt x="16" y="280"/>
                  </a:lnTo>
                  <a:lnTo>
                    <a:pt x="16" y="320"/>
                  </a:lnTo>
                  <a:lnTo>
                    <a:pt x="8" y="344"/>
                  </a:lnTo>
                  <a:lnTo>
                    <a:pt x="0" y="344"/>
                  </a:lnTo>
                  <a:lnTo>
                    <a:pt x="0" y="36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8" name="Freeform 306">
              <a:extLst>
                <a:ext uri="{FF2B5EF4-FFF2-40B4-BE49-F238E27FC236}">
                  <a16:creationId xmlns:a16="http://schemas.microsoft.com/office/drawing/2014/main" id="{413D5777-F922-3755-FDE6-B7634596A561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8497888" y="5681663"/>
              <a:ext cx="34925" cy="14288"/>
            </a:xfrm>
            <a:custGeom>
              <a:avLst/>
              <a:gdLst>
                <a:gd name="T0" fmla="*/ 0 w 16"/>
                <a:gd name="T1" fmla="*/ 14288 h 8"/>
                <a:gd name="T2" fmla="*/ 17463 w 16"/>
                <a:gd name="T3" fmla="*/ 14288 h 8"/>
                <a:gd name="T4" fmla="*/ 34925 w 16"/>
                <a:gd name="T5" fmla="*/ 14288 h 8"/>
                <a:gd name="T6" fmla="*/ 34925 w 16"/>
                <a:gd name="T7" fmla="*/ 0 h 8"/>
                <a:gd name="T8" fmla="*/ 0 w 16"/>
                <a:gd name="T9" fmla="*/ 1428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0" y="8"/>
                  </a:moveTo>
                  <a:lnTo>
                    <a:pt x="8" y="8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9" name="Freeform 307">
              <a:extLst>
                <a:ext uri="{FF2B5EF4-FFF2-40B4-BE49-F238E27FC236}">
                  <a16:creationId xmlns:a16="http://schemas.microsoft.com/office/drawing/2014/main" id="{8E025319-44AD-A610-1167-D453A4C9F9DB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8618538" y="5829301"/>
              <a:ext cx="103188" cy="74613"/>
            </a:xfrm>
            <a:custGeom>
              <a:avLst/>
              <a:gdLst>
                <a:gd name="T0" fmla="*/ 17198 w 48"/>
                <a:gd name="T1" fmla="*/ 0 h 40"/>
                <a:gd name="T2" fmla="*/ 0 w 48"/>
                <a:gd name="T3" fmla="*/ 59690 h 40"/>
                <a:gd name="T4" fmla="*/ 0 w 48"/>
                <a:gd name="T5" fmla="*/ 74613 h 40"/>
                <a:gd name="T6" fmla="*/ 17198 w 48"/>
                <a:gd name="T7" fmla="*/ 74613 h 40"/>
                <a:gd name="T8" fmla="*/ 51594 w 48"/>
                <a:gd name="T9" fmla="*/ 59690 h 40"/>
                <a:gd name="T10" fmla="*/ 103188 w 48"/>
                <a:gd name="T11" fmla="*/ 0 h 40"/>
                <a:gd name="T12" fmla="*/ 51594 w 48"/>
                <a:gd name="T13" fmla="*/ 14923 h 40"/>
                <a:gd name="T14" fmla="*/ 17198 w 48"/>
                <a:gd name="T15" fmla="*/ 0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"/>
                <a:gd name="T25" fmla="*/ 0 h 40"/>
                <a:gd name="T26" fmla="*/ 48 w 48"/>
                <a:gd name="T27" fmla="*/ 40 h 4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" h="40">
                  <a:moveTo>
                    <a:pt x="8" y="0"/>
                  </a:moveTo>
                  <a:lnTo>
                    <a:pt x="0" y="32"/>
                  </a:lnTo>
                  <a:lnTo>
                    <a:pt x="0" y="40"/>
                  </a:lnTo>
                  <a:lnTo>
                    <a:pt x="8" y="40"/>
                  </a:lnTo>
                  <a:lnTo>
                    <a:pt x="24" y="32"/>
                  </a:lnTo>
                  <a:lnTo>
                    <a:pt x="48" y="0"/>
                  </a:lnTo>
                  <a:lnTo>
                    <a:pt x="24" y="8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0" name="Freeform 308">
              <a:extLst>
                <a:ext uri="{FF2B5EF4-FFF2-40B4-BE49-F238E27FC236}">
                  <a16:creationId xmlns:a16="http://schemas.microsoft.com/office/drawing/2014/main" id="{65840F5A-F978-9F8C-E671-795F3DF35541}"/>
                </a:ext>
              </a:extLst>
            </p:cNvPr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7529513" y="4530726"/>
              <a:ext cx="311150" cy="325438"/>
            </a:xfrm>
            <a:custGeom>
              <a:avLst/>
              <a:gdLst>
                <a:gd name="T0" fmla="*/ 0 w 144"/>
                <a:gd name="T1" fmla="*/ 0 h 176"/>
                <a:gd name="T2" fmla="*/ 0 w 144"/>
                <a:gd name="T3" fmla="*/ 29585 h 176"/>
                <a:gd name="T4" fmla="*/ 34572 w 144"/>
                <a:gd name="T5" fmla="*/ 59171 h 176"/>
                <a:gd name="T6" fmla="*/ 69144 w 144"/>
                <a:gd name="T7" fmla="*/ 88756 h 176"/>
                <a:gd name="T8" fmla="*/ 103717 w 144"/>
                <a:gd name="T9" fmla="*/ 103548 h 176"/>
                <a:gd name="T10" fmla="*/ 103717 w 144"/>
                <a:gd name="T11" fmla="*/ 147926 h 176"/>
                <a:gd name="T12" fmla="*/ 138289 w 144"/>
                <a:gd name="T13" fmla="*/ 177512 h 176"/>
                <a:gd name="T14" fmla="*/ 155575 w 144"/>
                <a:gd name="T15" fmla="*/ 221890 h 176"/>
                <a:gd name="T16" fmla="*/ 172861 w 144"/>
                <a:gd name="T17" fmla="*/ 251475 h 176"/>
                <a:gd name="T18" fmla="*/ 259292 w 144"/>
                <a:gd name="T19" fmla="*/ 310645 h 176"/>
                <a:gd name="T20" fmla="*/ 259292 w 144"/>
                <a:gd name="T21" fmla="*/ 325438 h 176"/>
                <a:gd name="T22" fmla="*/ 276578 w 144"/>
                <a:gd name="T23" fmla="*/ 310645 h 176"/>
                <a:gd name="T24" fmla="*/ 293864 w 144"/>
                <a:gd name="T25" fmla="*/ 325438 h 176"/>
                <a:gd name="T26" fmla="*/ 311150 w 144"/>
                <a:gd name="T27" fmla="*/ 251475 h 176"/>
                <a:gd name="T28" fmla="*/ 293864 w 144"/>
                <a:gd name="T29" fmla="*/ 221890 h 176"/>
                <a:gd name="T30" fmla="*/ 276578 w 144"/>
                <a:gd name="T31" fmla="*/ 221890 h 176"/>
                <a:gd name="T32" fmla="*/ 259292 w 144"/>
                <a:gd name="T33" fmla="*/ 192304 h 176"/>
                <a:gd name="T34" fmla="*/ 242006 w 144"/>
                <a:gd name="T35" fmla="*/ 192304 h 176"/>
                <a:gd name="T36" fmla="*/ 224719 w 144"/>
                <a:gd name="T37" fmla="*/ 177512 h 176"/>
                <a:gd name="T38" fmla="*/ 242006 w 144"/>
                <a:gd name="T39" fmla="*/ 162719 h 176"/>
                <a:gd name="T40" fmla="*/ 224719 w 144"/>
                <a:gd name="T41" fmla="*/ 147926 h 176"/>
                <a:gd name="T42" fmla="*/ 224719 w 144"/>
                <a:gd name="T43" fmla="*/ 133134 h 176"/>
                <a:gd name="T44" fmla="*/ 172861 w 144"/>
                <a:gd name="T45" fmla="*/ 103548 h 176"/>
                <a:gd name="T46" fmla="*/ 155575 w 144"/>
                <a:gd name="T47" fmla="*/ 103548 h 176"/>
                <a:gd name="T48" fmla="*/ 51858 w 144"/>
                <a:gd name="T49" fmla="*/ 14793 h 176"/>
                <a:gd name="T50" fmla="*/ 0 w 144"/>
                <a:gd name="T51" fmla="*/ 0 h 17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44"/>
                <a:gd name="T79" fmla="*/ 0 h 176"/>
                <a:gd name="T80" fmla="*/ 144 w 144"/>
                <a:gd name="T81" fmla="*/ 176 h 17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44" h="176">
                  <a:moveTo>
                    <a:pt x="0" y="0"/>
                  </a:moveTo>
                  <a:lnTo>
                    <a:pt x="0" y="16"/>
                  </a:lnTo>
                  <a:lnTo>
                    <a:pt x="16" y="32"/>
                  </a:lnTo>
                  <a:lnTo>
                    <a:pt x="32" y="48"/>
                  </a:lnTo>
                  <a:lnTo>
                    <a:pt x="48" y="56"/>
                  </a:lnTo>
                  <a:lnTo>
                    <a:pt x="48" y="80"/>
                  </a:lnTo>
                  <a:lnTo>
                    <a:pt x="64" y="96"/>
                  </a:lnTo>
                  <a:lnTo>
                    <a:pt x="72" y="120"/>
                  </a:lnTo>
                  <a:lnTo>
                    <a:pt x="80" y="136"/>
                  </a:lnTo>
                  <a:lnTo>
                    <a:pt x="120" y="168"/>
                  </a:lnTo>
                  <a:lnTo>
                    <a:pt x="120" y="176"/>
                  </a:lnTo>
                  <a:lnTo>
                    <a:pt x="128" y="168"/>
                  </a:lnTo>
                  <a:lnTo>
                    <a:pt x="136" y="176"/>
                  </a:lnTo>
                  <a:lnTo>
                    <a:pt x="144" y="136"/>
                  </a:lnTo>
                  <a:lnTo>
                    <a:pt x="136" y="120"/>
                  </a:lnTo>
                  <a:lnTo>
                    <a:pt x="128" y="120"/>
                  </a:lnTo>
                  <a:lnTo>
                    <a:pt x="120" y="104"/>
                  </a:lnTo>
                  <a:lnTo>
                    <a:pt x="112" y="104"/>
                  </a:lnTo>
                  <a:lnTo>
                    <a:pt x="104" y="96"/>
                  </a:lnTo>
                  <a:lnTo>
                    <a:pt x="112" y="88"/>
                  </a:lnTo>
                  <a:lnTo>
                    <a:pt x="104" y="80"/>
                  </a:lnTo>
                  <a:lnTo>
                    <a:pt x="104" y="72"/>
                  </a:lnTo>
                  <a:lnTo>
                    <a:pt x="80" y="56"/>
                  </a:lnTo>
                  <a:lnTo>
                    <a:pt x="72" y="56"/>
                  </a:lnTo>
                  <a:lnTo>
                    <a:pt x="24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1" name="Freeform 309">
              <a:extLst>
                <a:ext uri="{FF2B5EF4-FFF2-40B4-BE49-F238E27FC236}">
                  <a16:creationId xmlns:a16="http://schemas.microsoft.com/office/drawing/2014/main" id="{D74B801F-DF81-4294-F7E3-6CF5956EACDD}"/>
                </a:ext>
              </a:extLst>
            </p:cNvPr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7805738" y="4856163"/>
              <a:ext cx="260350" cy="73025"/>
            </a:xfrm>
            <a:custGeom>
              <a:avLst/>
              <a:gdLst>
                <a:gd name="T0" fmla="*/ 0 w 120"/>
                <a:gd name="T1" fmla="*/ 14605 h 40"/>
                <a:gd name="T2" fmla="*/ 86783 w 120"/>
                <a:gd name="T3" fmla="*/ 43815 h 40"/>
                <a:gd name="T4" fmla="*/ 121497 w 120"/>
                <a:gd name="T5" fmla="*/ 43815 h 40"/>
                <a:gd name="T6" fmla="*/ 208280 w 120"/>
                <a:gd name="T7" fmla="*/ 73025 h 40"/>
                <a:gd name="T8" fmla="*/ 225637 w 120"/>
                <a:gd name="T9" fmla="*/ 58420 h 40"/>
                <a:gd name="T10" fmla="*/ 260350 w 120"/>
                <a:gd name="T11" fmla="*/ 73025 h 40"/>
                <a:gd name="T12" fmla="*/ 260350 w 120"/>
                <a:gd name="T13" fmla="*/ 43815 h 40"/>
                <a:gd name="T14" fmla="*/ 225637 w 120"/>
                <a:gd name="T15" fmla="*/ 43815 h 40"/>
                <a:gd name="T16" fmla="*/ 208280 w 120"/>
                <a:gd name="T17" fmla="*/ 29210 h 40"/>
                <a:gd name="T18" fmla="*/ 156210 w 120"/>
                <a:gd name="T19" fmla="*/ 14605 h 40"/>
                <a:gd name="T20" fmla="*/ 156210 w 120"/>
                <a:gd name="T21" fmla="*/ 29210 h 40"/>
                <a:gd name="T22" fmla="*/ 104140 w 120"/>
                <a:gd name="T23" fmla="*/ 29210 h 40"/>
                <a:gd name="T24" fmla="*/ 69427 w 120"/>
                <a:gd name="T25" fmla="*/ 0 h 40"/>
                <a:gd name="T26" fmla="*/ 34713 w 120"/>
                <a:gd name="T27" fmla="*/ 0 h 40"/>
                <a:gd name="T28" fmla="*/ 0 w 120"/>
                <a:gd name="T29" fmla="*/ 14605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0"/>
                <a:gd name="T46" fmla="*/ 0 h 40"/>
                <a:gd name="T47" fmla="*/ 120 w 120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0" h="40">
                  <a:moveTo>
                    <a:pt x="0" y="8"/>
                  </a:moveTo>
                  <a:lnTo>
                    <a:pt x="40" y="24"/>
                  </a:lnTo>
                  <a:lnTo>
                    <a:pt x="56" y="24"/>
                  </a:lnTo>
                  <a:lnTo>
                    <a:pt x="96" y="40"/>
                  </a:lnTo>
                  <a:lnTo>
                    <a:pt x="104" y="32"/>
                  </a:lnTo>
                  <a:lnTo>
                    <a:pt x="120" y="40"/>
                  </a:lnTo>
                  <a:lnTo>
                    <a:pt x="120" y="24"/>
                  </a:lnTo>
                  <a:lnTo>
                    <a:pt x="104" y="24"/>
                  </a:lnTo>
                  <a:lnTo>
                    <a:pt x="96" y="16"/>
                  </a:lnTo>
                  <a:lnTo>
                    <a:pt x="72" y="8"/>
                  </a:lnTo>
                  <a:lnTo>
                    <a:pt x="72" y="16"/>
                  </a:lnTo>
                  <a:lnTo>
                    <a:pt x="48" y="16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2" name="Freeform 310">
              <a:extLst>
                <a:ext uri="{FF2B5EF4-FFF2-40B4-BE49-F238E27FC236}">
                  <a16:creationId xmlns:a16="http://schemas.microsoft.com/office/drawing/2014/main" id="{2E40171F-6D84-87A7-23AF-128F40BF4906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8066088" y="4914901"/>
              <a:ext cx="33338" cy="14288"/>
            </a:xfrm>
            <a:custGeom>
              <a:avLst/>
              <a:gdLst>
                <a:gd name="T0" fmla="*/ 0 w 16"/>
                <a:gd name="T1" fmla="*/ 0 h 8"/>
                <a:gd name="T2" fmla="*/ 16669 w 16"/>
                <a:gd name="T3" fmla="*/ 14288 h 8"/>
                <a:gd name="T4" fmla="*/ 33338 w 16"/>
                <a:gd name="T5" fmla="*/ 0 h 8"/>
                <a:gd name="T6" fmla="*/ 0 w 16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8"/>
                <a:gd name="T14" fmla="*/ 16 w 16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8">
                  <a:moveTo>
                    <a:pt x="0" y="0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3" name="Freeform 311">
              <a:extLst>
                <a:ext uri="{FF2B5EF4-FFF2-40B4-BE49-F238E27FC236}">
                  <a16:creationId xmlns:a16="http://schemas.microsoft.com/office/drawing/2014/main" id="{3BD73521-9CA3-5436-12C8-3551ECFB0F0B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8116888" y="4914901"/>
              <a:ext cx="225425" cy="28575"/>
            </a:xfrm>
            <a:custGeom>
              <a:avLst/>
              <a:gdLst>
                <a:gd name="T0" fmla="*/ 0 w 104"/>
                <a:gd name="T1" fmla="*/ 28575 h 16"/>
                <a:gd name="T2" fmla="*/ 34681 w 104"/>
                <a:gd name="T3" fmla="*/ 28575 h 16"/>
                <a:gd name="T4" fmla="*/ 104042 w 104"/>
                <a:gd name="T5" fmla="*/ 14288 h 16"/>
                <a:gd name="T6" fmla="*/ 173404 w 104"/>
                <a:gd name="T7" fmla="*/ 28575 h 16"/>
                <a:gd name="T8" fmla="*/ 225425 w 104"/>
                <a:gd name="T9" fmla="*/ 14288 h 16"/>
                <a:gd name="T10" fmla="*/ 190744 w 104"/>
                <a:gd name="T11" fmla="*/ 0 h 16"/>
                <a:gd name="T12" fmla="*/ 173404 w 104"/>
                <a:gd name="T13" fmla="*/ 14288 h 16"/>
                <a:gd name="T14" fmla="*/ 121383 w 104"/>
                <a:gd name="T15" fmla="*/ 0 h 16"/>
                <a:gd name="T16" fmla="*/ 104042 w 104"/>
                <a:gd name="T17" fmla="*/ 14288 h 16"/>
                <a:gd name="T18" fmla="*/ 52021 w 104"/>
                <a:gd name="T19" fmla="*/ 0 h 16"/>
                <a:gd name="T20" fmla="*/ 52021 w 104"/>
                <a:gd name="T21" fmla="*/ 14288 h 16"/>
                <a:gd name="T22" fmla="*/ 17340 w 104"/>
                <a:gd name="T23" fmla="*/ 0 h 16"/>
                <a:gd name="T24" fmla="*/ 0 w 104"/>
                <a:gd name="T25" fmla="*/ 14288 h 16"/>
                <a:gd name="T26" fmla="*/ 0 w 104"/>
                <a:gd name="T27" fmla="*/ 28575 h 1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4"/>
                <a:gd name="T43" fmla="*/ 0 h 16"/>
                <a:gd name="T44" fmla="*/ 104 w 104"/>
                <a:gd name="T45" fmla="*/ 16 h 1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4" h="16">
                  <a:moveTo>
                    <a:pt x="0" y="16"/>
                  </a:moveTo>
                  <a:lnTo>
                    <a:pt x="16" y="16"/>
                  </a:lnTo>
                  <a:lnTo>
                    <a:pt x="48" y="8"/>
                  </a:lnTo>
                  <a:lnTo>
                    <a:pt x="80" y="16"/>
                  </a:lnTo>
                  <a:lnTo>
                    <a:pt x="104" y="8"/>
                  </a:lnTo>
                  <a:lnTo>
                    <a:pt x="88" y="0"/>
                  </a:lnTo>
                  <a:lnTo>
                    <a:pt x="80" y="8"/>
                  </a:lnTo>
                  <a:lnTo>
                    <a:pt x="56" y="0"/>
                  </a:lnTo>
                  <a:lnTo>
                    <a:pt x="48" y="8"/>
                  </a:lnTo>
                  <a:lnTo>
                    <a:pt x="24" y="0"/>
                  </a:lnTo>
                  <a:lnTo>
                    <a:pt x="24" y="8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4" name="Freeform 312">
              <a:extLst>
                <a:ext uri="{FF2B5EF4-FFF2-40B4-BE49-F238E27FC236}">
                  <a16:creationId xmlns:a16="http://schemas.microsoft.com/office/drawing/2014/main" id="{B30ACA19-6F11-1DFF-65BF-A2BF034CCD13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8359776" y="4914901"/>
              <a:ext cx="17463" cy="14288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0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5" name="Freeform 313">
              <a:extLst>
                <a:ext uri="{FF2B5EF4-FFF2-40B4-BE49-F238E27FC236}">
                  <a16:creationId xmlns:a16="http://schemas.microsoft.com/office/drawing/2014/main" id="{4B9298D1-D977-C722-B3A6-E3423DF998E3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8394701" y="4900613"/>
              <a:ext cx="33338" cy="14288"/>
            </a:xfrm>
            <a:custGeom>
              <a:avLst/>
              <a:gdLst>
                <a:gd name="T0" fmla="*/ 0 w 16"/>
                <a:gd name="T1" fmla="*/ 14288 h 8"/>
                <a:gd name="T2" fmla="*/ 16669 w 16"/>
                <a:gd name="T3" fmla="*/ 14288 h 8"/>
                <a:gd name="T4" fmla="*/ 33338 w 16"/>
                <a:gd name="T5" fmla="*/ 0 h 8"/>
                <a:gd name="T6" fmla="*/ 16669 w 16"/>
                <a:gd name="T7" fmla="*/ 0 h 8"/>
                <a:gd name="T8" fmla="*/ 0 w 16"/>
                <a:gd name="T9" fmla="*/ 1428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0" y="8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6" name="Freeform 314">
              <a:extLst>
                <a:ext uri="{FF2B5EF4-FFF2-40B4-BE49-F238E27FC236}">
                  <a16:creationId xmlns:a16="http://schemas.microsoft.com/office/drawing/2014/main" id="{8946AF15-D096-30BE-7E6E-E7B1B19C5919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8204201" y="4959351"/>
              <a:ext cx="50800" cy="14288"/>
            </a:xfrm>
            <a:custGeom>
              <a:avLst/>
              <a:gdLst>
                <a:gd name="T0" fmla="*/ 0 w 24"/>
                <a:gd name="T1" fmla="*/ 0 h 8"/>
                <a:gd name="T2" fmla="*/ 33867 w 24"/>
                <a:gd name="T3" fmla="*/ 14288 h 8"/>
                <a:gd name="T4" fmla="*/ 50800 w 24"/>
                <a:gd name="T5" fmla="*/ 14288 h 8"/>
                <a:gd name="T6" fmla="*/ 16933 w 24"/>
                <a:gd name="T7" fmla="*/ 0 h 8"/>
                <a:gd name="T8" fmla="*/ 0 w 2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8"/>
                <a:gd name="T17" fmla="*/ 24 w 2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8">
                  <a:moveTo>
                    <a:pt x="0" y="0"/>
                  </a:moveTo>
                  <a:lnTo>
                    <a:pt x="16" y="8"/>
                  </a:lnTo>
                  <a:lnTo>
                    <a:pt x="24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7" name="Freeform 315">
              <a:extLst>
                <a:ext uri="{FF2B5EF4-FFF2-40B4-BE49-F238E27FC236}">
                  <a16:creationId xmlns:a16="http://schemas.microsoft.com/office/drawing/2014/main" id="{7321D6A8-7B3D-F048-2FCC-7A68C72E6547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8550276" y="4884738"/>
              <a:ext cx="15875" cy="30163"/>
            </a:xfrm>
            <a:custGeom>
              <a:avLst/>
              <a:gdLst>
                <a:gd name="T0" fmla="*/ 0 w 8"/>
                <a:gd name="T1" fmla="*/ 30163 h 16"/>
                <a:gd name="T2" fmla="*/ 15875 w 8"/>
                <a:gd name="T3" fmla="*/ 15082 h 16"/>
                <a:gd name="T4" fmla="*/ 15875 w 8"/>
                <a:gd name="T5" fmla="*/ 0 h 16"/>
                <a:gd name="T6" fmla="*/ 0 w 8"/>
                <a:gd name="T7" fmla="*/ 30163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6"/>
                <a:gd name="T14" fmla="*/ 8 w 8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6">
                  <a:moveTo>
                    <a:pt x="0" y="16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8" name="Freeform 316">
              <a:extLst>
                <a:ext uri="{FF2B5EF4-FFF2-40B4-BE49-F238E27FC236}">
                  <a16:creationId xmlns:a16="http://schemas.microsoft.com/office/drawing/2014/main" id="{69F58615-CB27-24B4-6348-C2C0310EB81A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8636001" y="4840288"/>
              <a:ext cx="17463" cy="44450"/>
            </a:xfrm>
            <a:custGeom>
              <a:avLst/>
              <a:gdLst>
                <a:gd name="T0" fmla="*/ 0 w 8"/>
                <a:gd name="T1" fmla="*/ 44450 h 24"/>
                <a:gd name="T2" fmla="*/ 17463 w 8"/>
                <a:gd name="T3" fmla="*/ 14817 h 24"/>
                <a:gd name="T4" fmla="*/ 17463 w 8"/>
                <a:gd name="T5" fmla="*/ 0 h 24"/>
                <a:gd name="T6" fmla="*/ 0 w 8"/>
                <a:gd name="T7" fmla="*/ 4445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24"/>
                <a:gd name="T14" fmla="*/ 8 w 8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24">
                  <a:moveTo>
                    <a:pt x="0" y="24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9" name="Freeform 317">
              <a:extLst>
                <a:ext uri="{FF2B5EF4-FFF2-40B4-BE49-F238E27FC236}">
                  <a16:creationId xmlns:a16="http://schemas.microsoft.com/office/drawing/2014/main" id="{4D770C42-7ABF-4A2D-01BE-C409A072B156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7805738" y="4737101"/>
              <a:ext cx="52388" cy="44450"/>
            </a:xfrm>
            <a:custGeom>
              <a:avLst/>
              <a:gdLst>
                <a:gd name="T0" fmla="*/ 0 w 24"/>
                <a:gd name="T1" fmla="*/ 0 h 24"/>
                <a:gd name="T2" fmla="*/ 17463 w 24"/>
                <a:gd name="T3" fmla="*/ 14817 h 24"/>
                <a:gd name="T4" fmla="*/ 17463 w 24"/>
                <a:gd name="T5" fmla="*/ 29633 h 24"/>
                <a:gd name="T6" fmla="*/ 52388 w 24"/>
                <a:gd name="T7" fmla="*/ 44450 h 24"/>
                <a:gd name="T8" fmla="*/ 52388 w 24"/>
                <a:gd name="T9" fmla="*/ 29633 h 24"/>
                <a:gd name="T10" fmla="*/ 34925 w 24"/>
                <a:gd name="T11" fmla="*/ 14817 h 24"/>
                <a:gd name="T12" fmla="*/ 34925 w 24"/>
                <a:gd name="T13" fmla="*/ 0 h 24"/>
                <a:gd name="T14" fmla="*/ 0 w 24"/>
                <a:gd name="T15" fmla="*/ 0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4"/>
                <a:gd name="T26" fmla="*/ 24 w 24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4">
                  <a:moveTo>
                    <a:pt x="0" y="0"/>
                  </a:moveTo>
                  <a:lnTo>
                    <a:pt x="8" y="8"/>
                  </a:lnTo>
                  <a:lnTo>
                    <a:pt x="8" y="16"/>
                  </a:lnTo>
                  <a:lnTo>
                    <a:pt x="24" y="24"/>
                  </a:lnTo>
                  <a:lnTo>
                    <a:pt x="24" y="16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0" name="Freeform 318">
              <a:extLst>
                <a:ext uri="{FF2B5EF4-FFF2-40B4-BE49-F238E27FC236}">
                  <a16:creationId xmlns:a16="http://schemas.microsoft.com/office/drawing/2014/main" id="{3E8BAEFA-5B23-A92F-273E-833278950EC8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7875588" y="4767263"/>
              <a:ext cx="17463" cy="14288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17463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1" name="Line 319">
              <a:extLst>
                <a:ext uri="{FF2B5EF4-FFF2-40B4-BE49-F238E27FC236}">
                  <a16:creationId xmlns:a16="http://schemas.microsoft.com/office/drawing/2014/main" id="{2C487CDC-B545-1F10-D217-85472DA3715F}"/>
                </a:ext>
              </a:extLst>
            </p:cNvPr>
            <p:cNvSpPr>
              <a:spLocks noChangeShapeType="1"/>
            </p:cNvSpPr>
            <p:nvPr>
              <p:custDataLst>
                <p:tags r:id="rId284"/>
              </p:custDataLst>
            </p:nvPr>
          </p:nvSpPr>
          <p:spPr bwMode="auto">
            <a:xfrm>
              <a:off x="4762501" y="3070226"/>
              <a:ext cx="3175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2" name="Line 320">
              <a:extLst>
                <a:ext uri="{FF2B5EF4-FFF2-40B4-BE49-F238E27FC236}">
                  <a16:creationId xmlns:a16="http://schemas.microsoft.com/office/drawing/2014/main" id="{A76BBDF8-9DC5-96D1-5EB4-3CE63E886D94}"/>
                </a:ext>
              </a:extLst>
            </p:cNvPr>
            <p:cNvSpPr>
              <a:spLocks noChangeShapeType="1"/>
            </p:cNvSpPr>
            <p:nvPr>
              <p:custDataLst>
                <p:tags r:id="rId285"/>
              </p:custDataLst>
            </p:nvPr>
          </p:nvSpPr>
          <p:spPr bwMode="auto">
            <a:xfrm>
              <a:off x="8031163" y="4900613"/>
              <a:ext cx="34925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3" name="Freeform 321">
              <a:extLst>
                <a:ext uri="{FF2B5EF4-FFF2-40B4-BE49-F238E27FC236}">
                  <a16:creationId xmlns:a16="http://schemas.microsoft.com/office/drawing/2014/main" id="{0F413778-9875-CCF1-E141-3951E1965186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8204201" y="4649788"/>
              <a:ext cx="190500" cy="206375"/>
            </a:xfrm>
            <a:custGeom>
              <a:avLst/>
              <a:gdLst>
                <a:gd name="T0" fmla="*/ 0 w 88"/>
                <a:gd name="T1" fmla="*/ 117929 h 112"/>
                <a:gd name="T2" fmla="*/ 0 w 88"/>
                <a:gd name="T3" fmla="*/ 132670 h 112"/>
                <a:gd name="T4" fmla="*/ 17318 w 88"/>
                <a:gd name="T5" fmla="*/ 132670 h 112"/>
                <a:gd name="T6" fmla="*/ 17318 w 88"/>
                <a:gd name="T7" fmla="*/ 147411 h 112"/>
                <a:gd name="T8" fmla="*/ 17318 w 88"/>
                <a:gd name="T9" fmla="*/ 191634 h 112"/>
                <a:gd name="T10" fmla="*/ 34636 w 88"/>
                <a:gd name="T11" fmla="*/ 191634 h 112"/>
                <a:gd name="T12" fmla="*/ 34636 w 88"/>
                <a:gd name="T13" fmla="*/ 132670 h 112"/>
                <a:gd name="T14" fmla="*/ 51955 w 88"/>
                <a:gd name="T15" fmla="*/ 117929 h 112"/>
                <a:gd name="T16" fmla="*/ 69273 w 88"/>
                <a:gd name="T17" fmla="*/ 117929 h 112"/>
                <a:gd name="T18" fmla="*/ 51955 w 88"/>
                <a:gd name="T19" fmla="*/ 132670 h 112"/>
                <a:gd name="T20" fmla="*/ 86591 w 88"/>
                <a:gd name="T21" fmla="*/ 162152 h 112"/>
                <a:gd name="T22" fmla="*/ 86591 w 88"/>
                <a:gd name="T23" fmla="*/ 176893 h 112"/>
                <a:gd name="T24" fmla="*/ 103909 w 88"/>
                <a:gd name="T25" fmla="*/ 176893 h 112"/>
                <a:gd name="T26" fmla="*/ 103909 w 88"/>
                <a:gd name="T27" fmla="*/ 191634 h 112"/>
                <a:gd name="T28" fmla="*/ 103909 w 88"/>
                <a:gd name="T29" fmla="*/ 206375 h 112"/>
                <a:gd name="T30" fmla="*/ 121227 w 88"/>
                <a:gd name="T31" fmla="*/ 191634 h 112"/>
                <a:gd name="T32" fmla="*/ 121227 w 88"/>
                <a:gd name="T33" fmla="*/ 176893 h 112"/>
                <a:gd name="T34" fmla="*/ 86591 w 88"/>
                <a:gd name="T35" fmla="*/ 132670 h 112"/>
                <a:gd name="T36" fmla="*/ 103909 w 88"/>
                <a:gd name="T37" fmla="*/ 132670 h 112"/>
                <a:gd name="T38" fmla="*/ 86591 w 88"/>
                <a:gd name="T39" fmla="*/ 88446 h 112"/>
                <a:gd name="T40" fmla="*/ 121227 w 88"/>
                <a:gd name="T41" fmla="*/ 73705 h 112"/>
                <a:gd name="T42" fmla="*/ 138545 w 88"/>
                <a:gd name="T43" fmla="*/ 73705 h 112"/>
                <a:gd name="T44" fmla="*/ 121227 w 88"/>
                <a:gd name="T45" fmla="*/ 58964 h 112"/>
                <a:gd name="T46" fmla="*/ 51955 w 88"/>
                <a:gd name="T47" fmla="*/ 73705 h 112"/>
                <a:gd name="T48" fmla="*/ 34636 w 88"/>
                <a:gd name="T49" fmla="*/ 58964 h 112"/>
                <a:gd name="T50" fmla="*/ 34636 w 88"/>
                <a:gd name="T51" fmla="*/ 44223 h 112"/>
                <a:gd name="T52" fmla="*/ 51955 w 88"/>
                <a:gd name="T53" fmla="*/ 29482 h 112"/>
                <a:gd name="T54" fmla="*/ 138545 w 88"/>
                <a:gd name="T55" fmla="*/ 29482 h 112"/>
                <a:gd name="T56" fmla="*/ 173182 w 88"/>
                <a:gd name="T57" fmla="*/ 29482 h 112"/>
                <a:gd name="T58" fmla="*/ 190500 w 88"/>
                <a:gd name="T59" fmla="*/ 0 h 112"/>
                <a:gd name="T60" fmla="*/ 173182 w 88"/>
                <a:gd name="T61" fmla="*/ 0 h 112"/>
                <a:gd name="T62" fmla="*/ 155864 w 88"/>
                <a:gd name="T63" fmla="*/ 14741 h 112"/>
                <a:gd name="T64" fmla="*/ 121227 w 88"/>
                <a:gd name="T65" fmla="*/ 14741 h 112"/>
                <a:gd name="T66" fmla="*/ 69273 w 88"/>
                <a:gd name="T67" fmla="*/ 0 h 112"/>
                <a:gd name="T68" fmla="*/ 51955 w 88"/>
                <a:gd name="T69" fmla="*/ 14741 h 112"/>
                <a:gd name="T70" fmla="*/ 34636 w 88"/>
                <a:gd name="T71" fmla="*/ 14741 h 112"/>
                <a:gd name="T72" fmla="*/ 34636 w 88"/>
                <a:gd name="T73" fmla="*/ 58964 h 112"/>
                <a:gd name="T74" fmla="*/ 0 w 88"/>
                <a:gd name="T75" fmla="*/ 117929 h 11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8"/>
                <a:gd name="T115" fmla="*/ 0 h 112"/>
                <a:gd name="T116" fmla="*/ 88 w 88"/>
                <a:gd name="T117" fmla="*/ 112 h 11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8" h="112">
                  <a:moveTo>
                    <a:pt x="0" y="64"/>
                  </a:moveTo>
                  <a:lnTo>
                    <a:pt x="0" y="72"/>
                  </a:lnTo>
                  <a:lnTo>
                    <a:pt x="8" y="72"/>
                  </a:lnTo>
                  <a:lnTo>
                    <a:pt x="8" y="80"/>
                  </a:lnTo>
                  <a:lnTo>
                    <a:pt x="8" y="104"/>
                  </a:lnTo>
                  <a:lnTo>
                    <a:pt x="16" y="104"/>
                  </a:lnTo>
                  <a:lnTo>
                    <a:pt x="16" y="72"/>
                  </a:lnTo>
                  <a:lnTo>
                    <a:pt x="24" y="64"/>
                  </a:lnTo>
                  <a:lnTo>
                    <a:pt x="32" y="64"/>
                  </a:lnTo>
                  <a:lnTo>
                    <a:pt x="24" y="72"/>
                  </a:lnTo>
                  <a:lnTo>
                    <a:pt x="40" y="88"/>
                  </a:lnTo>
                  <a:lnTo>
                    <a:pt x="40" y="96"/>
                  </a:lnTo>
                  <a:lnTo>
                    <a:pt x="48" y="96"/>
                  </a:lnTo>
                  <a:lnTo>
                    <a:pt x="48" y="104"/>
                  </a:lnTo>
                  <a:lnTo>
                    <a:pt x="48" y="112"/>
                  </a:lnTo>
                  <a:lnTo>
                    <a:pt x="56" y="104"/>
                  </a:lnTo>
                  <a:lnTo>
                    <a:pt x="56" y="96"/>
                  </a:lnTo>
                  <a:lnTo>
                    <a:pt x="40" y="72"/>
                  </a:lnTo>
                  <a:lnTo>
                    <a:pt x="48" y="72"/>
                  </a:lnTo>
                  <a:lnTo>
                    <a:pt x="40" y="48"/>
                  </a:lnTo>
                  <a:lnTo>
                    <a:pt x="56" y="40"/>
                  </a:lnTo>
                  <a:lnTo>
                    <a:pt x="64" y="40"/>
                  </a:lnTo>
                  <a:lnTo>
                    <a:pt x="56" y="32"/>
                  </a:lnTo>
                  <a:lnTo>
                    <a:pt x="24" y="40"/>
                  </a:lnTo>
                  <a:lnTo>
                    <a:pt x="16" y="32"/>
                  </a:lnTo>
                  <a:lnTo>
                    <a:pt x="16" y="24"/>
                  </a:lnTo>
                  <a:lnTo>
                    <a:pt x="24" y="16"/>
                  </a:lnTo>
                  <a:lnTo>
                    <a:pt x="64" y="16"/>
                  </a:lnTo>
                  <a:lnTo>
                    <a:pt x="80" y="16"/>
                  </a:lnTo>
                  <a:lnTo>
                    <a:pt x="88" y="0"/>
                  </a:lnTo>
                  <a:lnTo>
                    <a:pt x="80" y="0"/>
                  </a:lnTo>
                  <a:lnTo>
                    <a:pt x="72" y="8"/>
                  </a:lnTo>
                  <a:lnTo>
                    <a:pt x="56" y="8"/>
                  </a:lnTo>
                  <a:lnTo>
                    <a:pt x="32" y="0"/>
                  </a:lnTo>
                  <a:lnTo>
                    <a:pt x="24" y="8"/>
                  </a:lnTo>
                  <a:lnTo>
                    <a:pt x="16" y="8"/>
                  </a:lnTo>
                  <a:lnTo>
                    <a:pt x="16" y="32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4" name="Freeform 322">
              <a:extLst>
                <a:ext uri="{FF2B5EF4-FFF2-40B4-BE49-F238E27FC236}">
                  <a16:creationId xmlns:a16="http://schemas.microsoft.com/office/drawing/2014/main" id="{6942C6FD-ACAC-7E39-846B-A3BA03D2EE6F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445501" y="4633913"/>
              <a:ext cx="52388" cy="88900"/>
            </a:xfrm>
            <a:custGeom>
              <a:avLst/>
              <a:gdLst>
                <a:gd name="T0" fmla="*/ 0 w 24"/>
                <a:gd name="T1" fmla="*/ 29633 h 48"/>
                <a:gd name="T2" fmla="*/ 17463 w 24"/>
                <a:gd name="T3" fmla="*/ 59267 h 48"/>
                <a:gd name="T4" fmla="*/ 34925 w 24"/>
                <a:gd name="T5" fmla="*/ 88900 h 48"/>
                <a:gd name="T6" fmla="*/ 17463 w 24"/>
                <a:gd name="T7" fmla="*/ 59267 h 48"/>
                <a:gd name="T8" fmla="*/ 17463 w 24"/>
                <a:gd name="T9" fmla="*/ 44450 h 48"/>
                <a:gd name="T10" fmla="*/ 34925 w 24"/>
                <a:gd name="T11" fmla="*/ 44450 h 48"/>
                <a:gd name="T12" fmla="*/ 34925 w 24"/>
                <a:gd name="T13" fmla="*/ 29633 h 48"/>
                <a:gd name="T14" fmla="*/ 52388 w 24"/>
                <a:gd name="T15" fmla="*/ 29633 h 48"/>
                <a:gd name="T16" fmla="*/ 52388 w 24"/>
                <a:gd name="T17" fmla="*/ 14817 h 48"/>
                <a:gd name="T18" fmla="*/ 34925 w 24"/>
                <a:gd name="T19" fmla="*/ 14817 h 48"/>
                <a:gd name="T20" fmla="*/ 17463 w 24"/>
                <a:gd name="T21" fmla="*/ 0 h 48"/>
                <a:gd name="T22" fmla="*/ 0 w 24"/>
                <a:gd name="T23" fmla="*/ 29633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4"/>
                <a:gd name="T37" fmla="*/ 0 h 48"/>
                <a:gd name="T38" fmla="*/ 24 w 24"/>
                <a:gd name="T39" fmla="*/ 48 h 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4" h="48">
                  <a:moveTo>
                    <a:pt x="0" y="16"/>
                  </a:moveTo>
                  <a:lnTo>
                    <a:pt x="8" y="32"/>
                  </a:lnTo>
                  <a:lnTo>
                    <a:pt x="16" y="48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" name="Freeform 323">
              <a:extLst>
                <a:ext uri="{FF2B5EF4-FFF2-40B4-BE49-F238E27FC236}">
                  <a16:creationId xmlns:a16="http://schemas.microsoft.com/office/drawing/2014/main" id="{0A81E58B-9AE5-F8A5-3508-E1D79A9EF26E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8410576" y="4781551"/>
              <a:ext cx="34925" cy="15875"/>
            </a:xfrm>
            <a:custGeom>
              <a:avLst/>
              <a:gdLst>
                <a:gd name="T0" fmla="*/ 0 w 16"/>
                <a:gd name="T1" fmla="*/ 0 h 8"/>
                <a:gd name="T2" fmla="*/ 17463 w 16"/>
                <a:gd name="T3" fmla="*/ 15875 h 8"/>
                <a:gd name="T4" fmla="*/ 34925 w 16"/>
                <a:gd name="T5" fmla="*/ 15875 h 8"/>
                <a:gd name="T6" fmla="*/ 34925 w 16"/>
                <a:gd name="T7" fmla="*/ 0 h 8"/>
                <a:gd name="T8" fmla="*/ 0 w 1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0" y="0"/>
                  </a:moveTo>
                  <a:lnTo>
                    <a:pt x="8" y="8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6" name="Freeform 324">
              <a:extLst>
                <a:ext uri="{FF2B5EF4-FFF2-40B4-BE49-F238E27FC236}">
                  <a16:creationId xmlns:a16="http://schemas.microsoft.com/office/drawing/2014/main" id="{2E64D7D5-D9E0-A86D-BF35-EB414F2FDF2F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8462963" y="4767263"/>
              <a:ext cx="87313" cy="30163"/>
            </a:xfrm>
            <a:custGeom>
              <a:avLst/>
              <a:gdLst>
                <a:gd name="T0" fmla="*/ 0 w 40"/>
                <a:gd name="T1" fmla="*/ 15082 h 16"/>
                <a:gd name="T2" fmla="*/ 87313 w 40"/>
                <a:gd name="T3" fmla="*/ 30163 h 16"/>
                <a:gd name="T4" fmla="*/ 69850 w 40"/>
                <a:gd name="T5" fmla="*/ 15082 h 16"/>
                <a:gd name="T6" fmla="*/ 52388 w 40"/>
                <a:gd name="T7" fmla="*/ 0 h 16"/>
                <a:gd name="T8" fmla="*/ 17463 w 40"/>
                <a:gd name="T9" fmla="*/ 0 h 16"/>
                <a:gd name="T10" fmla="*/ 0 w 40"/>
                <a:gd name="T11" fmla="*/ 15082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6"/>
                <a:gd name="T20" fmla="*/ 40 w 40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6">
                  <a:moveTo>
                    <a:pt x="0" y="8"/>
                  </a:moveTo>
                  <a:lnTo>
                    <a:pt x="40" y="16"/>
                  </a:lnTo>
                  <a:lnTo>
                    <a:pt x="32" y="8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7" name="Freeform 325">
              <a:extLst>
                <a:ext uri="{FF2B5EF4-FFF2-40B4-BE49-F238E27FC236}">
                  <a16:creationId xmlns:a16="http://schemas.microsoft.com/office/drawing/2014/main" id="{3271FF4D-0BFD-0812-CA8B-675973734208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8445501" y="4722813"/>
              <a:ext cx="34925" cy="14288"/>
            </a:xfrm>
            <a:custGeom>
              <a:avLst/>
              <a:gdLst>
                <a:gd name="T0" fmla="*/ 0 w 16"/>
                <a:gd name="T1" fmla="*/ 14288 h 8"/>
                <a:gd name="T2" fmla="*/ 34925 w 16"/>
                <a:gd name="T3" fmla="*/ 14288 h 8"/>
                <a:gd name="T4" fmla="*/ 17463 w 16"/>
                <a:gd name="T5" fmla="*/ 0 h 8"/>
                <a:gd name="T6" fmla="*/ 0 w 16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8"/>
                <a:gd name="T14" fmla="*/ 16 w 16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8">
                  <a:moveTo>
                    <a:pt x="0" y="8"/>
                  </a:moveTo>
                  <a:lnTo>
                    <a:pt x="16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8" name="Freeform 326">
              <a:extLst>
                <a:ext uri="{FF2B5EF4-FFF2-40B4-BE49-F238E27FC236}">
                  <a16:creationId xmlns:a16="http://schemas.microsoft.com/office/drawing/2014/main" id="{A4CEA888-501E-CDEB-CC38-AB66C46BBB85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8532813" y="4692651"/>
              <a:ext cx="33338" cy="15875"/>
            </a:xfrm>
            <a:custGeom>
              <a:avLst/>
              <a:gdLst>
                <a:gd name="T0" fmla="*/ 0 w 16"/>
                <a:gd name="T1" fmla="*/ 0 h 8"/>
                <a:gd name="T2" fmla="*/ 16669 w 16"/>
                <a:gd name="T3" fmla="*/ 15875 h 8"/>
                <a:gd name="T4" fmla="*/ 33338 w 16"/>
                <a:gd name="T5" fmla="*/ 0 h 8"/>
                <a:gd name="T6" fmla="*/ 16669 w 16"/>
                <a:gd name="T7" fmla="*/ 0 h 8"/>
                <a:gd name="T8" fmla="*/ 0 w 1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0" y="0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9" name="Freeform 327">
              <a:extLst>
                <a:ext uri="{FF2B5EF4-FFF2-40B4-BE49-F238E27FC236}">
                  <a16:creationId xmlns:a16="http://schemas.microsoft.com/office/drawing/2014/main" id="{CE3201F2-6647-3BFF-AABE-E9E7132D9016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8688388" y="4708526"/>
              <a:ext cx="17463" cy="14288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14288 h 8"/>
                <a:gd name="T4" fmla="*/ 17463 w 8"/>
                <a:gd name="T5" fmla="*/ 0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0" name="Freeform 328">
              <a:extLst>
                <a:ext uri="{FF2B5EF4-FFF2-40B4-BE49-F238E27FC236}">
                  <a16:creationId xmlns:a16="http://schemas.microsoft.com/office/drawing/2014/main" id="{B69CC89D-36E9-F5A2-BB1C-DB927A6A85EB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8204201" y="4176713"/>
              <a:ext cx="138113" cy="147638"/>
            </a:xfrm>
            <a:custGeom>
              <a:avLst/>
              <a:gdLst>
                <a:gd name="T0" fmla="*/ 0 w 64"/>
                <a:gd name="T1" fmla="*/ 59055 h 80"/>
                <a:gd name="T2" fmla="*/ 0 w 64"/>
                <a:gd name="T3" fmla="*/ 103347 h 80"/>
                <a:gd name="T4" fmla="*/ 34528 w 64"/>
                <a:gd name="T5" fmla="*/ 103347 h 80"/>
                <a:gd name="T6" fmla="*/ 34528 w 64"/>
                <a:gd name="T7" fmla="*/ 132874 h 80"/>
                <a:gd name="T8" fmla="*/ 51792 w 64"/>
                <a:gd name="T9" fmla="*/ 132874 h 80"/>
                <a:gd name="T10" fmla="*/ 86321 w 64"/>
                <a:gd name="T11" fmla="*/ 147638 h 80"/>
                <a:gd name="T12" fmla="*/ 86321 w 64"/>
                <a:gd name="T13" fmla="*/ 132874 h 80"/>
                <a:gd name="T14" fmla="*/ 103585 w 64"/>
                <a:gd name="T15" fmla="*/ 147638 h 80"/>
                <a:gd name="T16" fmla="*/ 138113 w 64"/>
                <a:gd name="T17" fmla="*/ 147638 h 80"/>
                <a:gd name="T18" fmla="*/ 120849 w 64"/>
                <a:gd name="T19" fmla="*/ 132874 h 80"/>
                <a:gd name="T20" fmla="*/ 86321 w 64"/>
                <a:gd name="T21" fmla="*/ 118110 h 80"/>
                <a:gd name="T22" fmla="*/ 69057 w 64"/>
                <a:gd name="T23" fmla="*/ 132874 h 80"/>
                <a:gd name="T24" fmla="*/ 69057 w 64"/>
                <a:gd name="T25" fmla="*/ 118110 h 80"/>
                <a:gd name="T26" fmla="*/ 51792 w 64"/>
                <a:gd name="T27" fmla="*/ 88583 h 80"/>
                <a:gd name="T28" fmla="*/ 69057 w 64"/>
                <a:gd name="T29" fmla="*/ 44291 h 80"/>
                <a:gd name="T30" fmla="*/ 51792 w 64"/>
                <a:gd name="T31" fmla="*/ 29528 h 80"/>
                <a:gd name="T32" fmla="*/ 51792 w 64"/>
                <a:gd name="T33" fmla="*/ 0 h 80"/>
                <a:gd name="T34" fmla="*/ 0 w 64"/>
                <a:gd name="T35" fmla="*/ 0 h 80"/>
                <a:gd name="T36" fmla="*/ 17264 w 64"/>
                <a:gd name="T37" fmla="*/ 59055 h 80"/>
                <a:gd name="T38" fmla="*/ 0 w 64"/>
                <a:gd name="T39" fmla="*/ 59055 h 8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4"/>
                <a:gd name="T61" fmla="*/ 0 h 80"/>
                <a:gd name="T62" fmla="*/ 64 w 64"/>
                <a:gd name="T63" fmla="*/ 80 h 8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4" h="80">
                  <a:moveTo>
                    <a:pt x="0" y="32"/>
                  </a:moveTo>
                  <a:lnTo>
                    <a:pt x="0" y="56"/>
                  </a:lnTo>
                  <a:lnTo>
                    <a:pt x="16" y="56"/>
                  </a:lnTo>
                  <a:lnTo>
                    <a:pt x="16" y="72"/>
                  </a:lnTo>
                  <a:lnTo>
                    <a:pt x="24" y="72"/>
                  </a:lnTo>
                  <a:lnTo>
                    <a:pt x="40" y="80"/>
                  </a:lnTo>
                  <a:lnTo>
                    <a:pt x="40" y="72"/>
                  </a:lnTo>
                  <a:lnTo>
                    <a:pt x="48" y="80"/>
                  </a:lnTo>
                  <a:lnTo>
                    <a:pt x="64" y="80"/>
                  </a:lnTo>
                  <a:lnTo>
                    <a:pt x="56" y="72"/>
                  </a:lnTo>
                  <a:lnTo>
                    <a:pt x="40" y="64"/>
                  </a:lnTo>
                  <a:lnTo>
                    <a:pt x="32" y="72"/>
                  </a:lnTo>
                  <a:lnTo>
                    <a:pt x="32" y="64"/>
                  </a:lnTo>
                  <a:lnTo>
                    <a:pt x="24" y="48"/>
                  </a:lnTo>
                  <a:lnTo>
                    <a:pt x="32" y="24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0" y="0"/>
                  </a:lnTo>
                  <a:lnTo>
                    <a:pt x="8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1" name="Freeform 329">
              <a:extLst>
                <a:ext uri="{FF2B5EF4-FFF2-40B4-BE49-F238E27FC236}">
                  <a16:creationId xmlns:a16="http://schemas.microsoft.com/office/drawing/2014/main" id="{518AE06B-D3CC-AE6F-90CC-F8A10FC4628B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8151813" y="4383088"/>
              <a:ext cx="69850" cy="74613"/>
            </a:xfrm>
            <a:custGeom>
              <a:avLst/>
              <a:gdLst>
                <a:gd name="T0" fmla="*/ 0 w 32"/>
                <a:gd name="T1" fmla="*/ 74613 h 40"/>
                <a:gd name="T2" fmla="*/ 69850 w 32"/>
                <a:gd name="T3" fmla="*/ 14923 h 40"/>
                <a:gd name="T4" fmla="*/ 52387 w 32"/>
                <a:gd name="T5" fmla="*/ 0 h 40"/>
                <a:gd name="T6" fmla="*/ 52387 w 32"/>
                <a:gd name="T7" fmla="*/ 14923 h 40"/>
                <a:gd name="T8" fmla="*/ 0 w 32"/>
                <a:gd name="T9" fmla="*/ 74613 h 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"/>
                <a:gd name="T16" fmla="*/ 0 h 40"/>
                <a:gd name="T17" fmla="*/ 32 w 32"/>
                <a:gd name="T18" fmla="*/ 40 h 4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" h="40">
                  <a:moveTo>
                    <a:pt x="0" y="40"/>
                  </a:moveTo>
                  <a:lnTo>
                    <a:pt x="32" y="8"/>
                  </a:lnTo>
                  <a:lnTo>
                    <a:pt x="24" y="0"/>
                  </a:lnTo>
                  <a:lnTo>
                    <a:pt x="24" y="8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2" name="Freeform 330">
              <a:extLst>
                <a:ext uri="{FF2B5EF4-FFF2-40B4-BE49-F238E27FC236}">
                  <a16:creationId xmlns:a16="http://schemas.microsoft.com/office/drawing/2014/main" id="{F6F50665-80B1-AC4B-23D8-7DE20C148F77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8221663" y="4310063"/>
              <a:ext cx="33338" cy="44450"/>
            </a:xfrm>
            <a:custGeom>
              <a:avLst/>
              <a:gdLst>
                <a:gd name="T0" fmla="*/ 0 w 16"/>
                <a:gd name="T1" fmla="*/ 0 h 24"/>
                <a:gd name="T2" fmla="*/ 33338 w 16"/>
                <a:gd name="T3" fmla="*/ 44450 h 24"/>
                <a:gd name="T4" fmla="*/ 33338 w 16"/>
                <a:gd name="T5" fmla="*/ 29633 h 24"/>
                <a:gd name="T6" fmla="*/ 33338 w 16"/>
                <a:gd name="T7" fmla="*/ 14817 h 24"/>
                <a:gd name="T8" fmla="*/ 0 w 1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24"/>
                <a:gd name="T17" fmla="*/ 16 w 1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24">
                  <a:moveTo>
                    <a:pt x="0" y="0"/>
                  </a:moveTo>
                  <a:lnTo>
                    <a:pt x="16" y="24"/>
                  </a:lnTo>
                  <a:lnTo>
                    <a:pt x="16" y="16"/>
                  </a:lnTo>
                  <a:lnTo>
                    <a:pt x="16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3" name="Freeform 331">
              <a:extLst>
                <a:ext uri="{FF2B5EF4-FFF2-40B4-BE49-F238E27FC236}">
                  <a16:creationId xmlns:a16="http://schemas.microsoft.com/office/drawing/2014/main" id="{D3D5408B-BC20-0EB5-4D93-8E2BA1D10A55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8342313" y="4338638"/>
              <a:ext cx="34925" cy="74613"/>
            </a:xfrm>
            <a:custGeom>
              <a:avLst/>
              <a:gdLst>
                <a:gd name="T0" fmla="*/ 0 w 16"/>
                <a:gd name="T1" fmla="*/ 0 h 40"/>
                <a:gd name="T2" fmla="*/ 17463 w 16"/>
                <a:gd name="T3" fmla="*/ 29845 h 40"/>
                <a:gd name="T4" fmla="*/ 0 w 16"/>
                <a:gd name="T5" fmla="*/ 29845 h 40"/>
                <a:gd name="T6" fmla="*/ 0 w 16"/>
                <a:gd name="T7" fmla="*/ 44768 h 40"/>
                <a:gd name="T8" fmla="*/ 17463 w 16"/>
                <a:gd name="T9" fmla="*/ 44768 h 40"/>
                <a:gd name="T10" fmla="*/ 17463 w 16"/>
                <a:gd name="T11" fmla="*/ 74613 h 40"/>
                <a:gd name="T12" fmla="*/ 34925 w 16"/>
                <a:gd name="T13" fmla="*/ 59690 h 40"/>
                <a:gd name="T14" fmla="*/ 17463 w 16"/>
                <a:gd name="T15" fmla="*/ 44768 h 40"/>
                <a:gd name="T16" fmla="*/ 34925 w 16"/>
                <a:gd name="T17" fmla="*/ 44768 h 40"/>
                <a:gd name="T18" fmla="*/ 34925 w 16"/>
                <a:gd name="T19" fmla="*/ 14923 h 40"/>
                <a:gd name="T20" fmla="*/ 34925 w 16"/>
                <a:gd name="T21" fmla="*/ 0 h 40"/>
                <a:gd name="T22" fmla="*/ 0 w 16"/>
                <a:gd name="T23" fmla="*/ 0 h 4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6"/>
                <a:gd name="T37" fmla="*/ 0 h 40"/>
                <a:gd name="T38" fmla="*/ 16 w 16"/>
                <a:gd name="T39" fmla="*/ 40 h 4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6" h="40">
                  <a:moveTo>
                    <a:pt x="0" y="0"/>
                  </a:moveTo>
                  <a:lnTo>
                    <a:pt x="8" y="16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8" y="24"/>
                  </a:lnTo>
                  <a:lnTo>
                    <a:pt x="8" y="40"/>
                  </a:lnTo>
                  <a:lnTo>
                    <a:pt x="16" y="32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4" name="Freeform 332">
              <a:extLst>
                <a:ext uri="{FF2B5EF4-FFF2-40B4-BE49-F238E27FC236}">
                  <a16:creationId xmlns:a16="http://schemas.microsoft.com/office/drawing/2014/main" id="{622F3CA0-13A6-82FD-FDC6-4AE00D5A79CE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8272463" y="4354513"/>
              <a:ext cx="87313" cy="87313"/>
            </a:xfrm>
            <a:custGeom>
              <a:avLst/>
              <a:gdLst>
                <a:gd name="T0" fmla="*/ 0 w 40"/>
                <a:gd name="T1" fmla="*/ 43657 h 48"/>
                <a:gd name="T2" fmla="*/ 34925 w 40"/>
                <a:gd name="T3" fmla="*/ 43657 h 48"/>
                <a:gd name="T4" fmla="*/ 34925 w 40"/>
                <a:gd name="T5" fmla="*/ 58209 h 48"/>
                <a:gd name="T6" fmla="*/ 17463 w 40"/>
                <a:gd name="T7" fmla="*/ 58209 h 48"/>
                <a:gd name="T8" fmla="*/ 34925 w 40"/>
                <a:gd name="T9" fmla="*/ 87313 h 48"/>
                <a:gd name="T10" fmla="*/ 52388 w 40"/>
                <a:gd name="T11" fmla="*/ 72761 h 48"/>
                <a:gd name="T12" fmla="*/ 52388 w 40"/>
                <a:gd name="T13" fmla="*/ 58209 h 48"/>
                <a:gd name="T14" fmla="*/ 52388 w 40"/>
                <a:gd name="T15" fmla="*/ 72761 h 48"/>
                <a:gd name="T16" fmla="*/ 69850 w 40"/>
                <a:gd name="T17" fmla="*/ 58209 h 48"/>
                <a:gd name="T18" fmla="*/ 69850 w 40"/>
                <a:gd name="T19" fmla="*/ 72761 h 48"/>
                <a:gd name="T20" fmla="*/ 87313 w 40"/>
                <a:gd name="T21" fmla="*/ 72761 h 48"/>
                <a:gd name="T22" fmla="*/ 87313 w 40"/>
                <a:gd name="T23" fmla="*/ 58209 h 48"/>
                <a:gd name="T24" fmla="*/ 69850 w 40"/>
                <a:gd name="T25" fmla="*/ 58209 h 48"/>
                <a:gd name="T26" fmla="*/ 69850 w 40"/>
                <a:gd name="T27" fmla="*/ 29104 h 48"/>
                <a:gd name="T28" fmla="*/ 52388 w 40"/>
                <a:gd name="T29" fmla="*/ 43657 h 48"/>
                <a:gd name="T30" fmla="*/ 34925 w 40"/>
                <a:gd name="T31" fmla="*/ 14552 h 48"/>
                <a:gd name="T32" fmla="*/ 17463 w 40"/>
                <a:gd name="T33" fmla="*/ 14552 h 48"/>
                <a:gd name="T34" fmla="*/ 0 w 40"/>
                <a:gd name="T35" fmla="*/ 0 h 48"/>
                <a:gd name="T36" fmla="*/ 0 w 40"/>
                <a:gd name="T37" fmla="*/ 43657 h 4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48"/>
                <a:gd name="T59" fmla="*/ 40 w 40"/>
                <a:gd name="T60" fmla="*/ 48 h 4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48">
                  <a:moveTo>
                    <a:pt x="0" y="24"/>
                  </a:moveTo>
                  <a:lnTo>
                    <a:pt x="16" y="24"/>
                  </a:lnTo>
                  <a:lnTo>
                    <a:pt x="16" y="32"/>
                  </a:lnTo>
                  <a:lnTo>
                    <a:pt x="8" y="32"/>
                  </a:lnTo>
                  <a:lnTo>
                    <a:pt x="16" y="48"/>
                  </a:lnTo>
                  <a:lnTo>
                    <a:pt x="24" y="40"/>
                  </a:lnTo>
                  <a:lnTo>
                    <a:pt x="24" y="32"/>
                  </a:lnTo>
                  <a:lnTo>
                    <a:pt x="24" y="40"/>
                  </a:lnTo>
                  <a:lnTo>
                    <a:pt x="32" y="32"/>
                  </a:lnTo>
                  <a:lnTo>
                    <a:pt x="32" y="40"/>
                  </a:lnTo>
                  <a:lnTo>
                    <a:pt x="40" y="40"/>
                  </a:lnTo>
                  <a:lnTo>
                    <a:pt x="40" y="32"/>
                  </a:lnTo>
                  <a:lnTo>
                    <a:pt x="32" y="32"/>
                  </a:lnTo>
                  <a:lnTo>
                    <a:pt x="32" y="16"/>
                  </a:lnTo>
                  <a:lnTo>
                    <a:pt x="24" y="24"/>
                  </a:lnTo>
                  <a:lnTo>
                    <a:pt x="16" y="8"/>
                  </a:lnTo>
                  <a:lnTo>
                    <a:pt x="8" y="8"/>
                  </a:lnTo>
                  <a:lnTo>
                    <a:pt x="0" y="0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5" name="Freeform 333">
              <a:extLst>
                <a:ext uri="{FF2B5EF4-FFF2-40B4-BE49-F238E27FC236}">
                  <a16:creationId xmlns:a16="http://schemas.microsoft.com/office/drawing/2014/main" id="{0C4F3BAF-119D-0544-3966-FE7682D082DD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8289926" y="4413251"/>
              <a:ext cx="138113" cy="117475"/>
            </a:xfrm>
            <a:custGeom>
              <a:avLst/>
              <a:gdLst>
                <a:gd name="T0" fmla="*/ 0 w 64"/>
                <a:gd name="T1" fmla="*/ 73422 h 64"/>
                <a:gd name="T2" fmla="*/ 0 w 64"/>
                <a:gd name="T3" fmla="*/ 88106 h 64"/>
                <a:gd name="T4" fmla="*/ 17264 w 64"/>
                <a:gd name="T5" fmla="*/ 58738 h 64"/>
                <a:gd name="T6" fmla="*/ 17264 w 64"/>
                <a:gd name="T7" fmla="*/ 73422 h 64"/>
                <a:gd name="T8" fmla="*/ 51792 w 64"/>
                <a:gd name="T9" fmla="*/ 58738 h 64"/>
                <a:gd name="T10" fmla="*/ 69057 w 64"/>
                <a:gd name="T11" fmla="*/ 73422 h 64"/>
                <a:gd name="T12" fmla="*/ 51792 w 64"/>
                <a:gd name="T13" fmla="*/ 102791 h 64"/>
                <a:gd name="T14" fmla="*/ 103585 w 64"/>
                <a:gd name="T15" fmla="*/ 117475 h 64"/>
                <a:gd name="T16" fmla="*/ 103585 w 64"/>
                <a:gd name="T17" fmla="*/ 102791 h 64"/>
                <a:gd name="T18" fmla="*/ 103585 w 64"/>
                <a:gd name="T19" fmla="*/ 88106 h 64"/>
                <a:gd name="T20" fmla="*/ 103585 w 64"/>
                <a:gd name="T21" fmla="*/ 73422 h 64"/>
                <a:gd name="T22" fmla="*/ 120849 w 64"/>
                <a:gd name="T23" fmla="*/ 102791 h 64"/>
                <a:gd name="T24" fmla="*/ 138113 w 64"/>
                <a:gd name="T25" fmla="*/ 73422 h 64"/>
                <a:gd name="T26" fmla="*/ 120849 w 64"/>
                <a:gd name="T27" fmla="*/ 29369 h 64"/>
                <a:gd name="T28" fmla="*/ 86321 w 64"/>
                <a:gd name="T29" fmla="*/ 0 h 64"/>
                <a:gd name="T30" fmla="*/ 103585 w 64"/>
                <a:gd name="T31" fmla="*/ 29369 h 64"/>
                <a:gd name="T32" fmla="*/ 86321 w 64"/>
                <a:gd name="T33" fmla="*/ 29369 h 64"/>
                <a:gd name="T34" fmla="*/ 69057 w 64"/>
                <a:gd name="T35" fmla="*/ 29369 h 64"/>
                <a:gd name="T36" fmla="*/ 69057 w 64"/>
                <a:gd name="T37" fmla="*/ 44053 h 64"/>
                <a:gd name="T38" fmla="*/ 51792 w 64"/>
                <a:gd name="T39" fmla="*/ 58738 h 64"/>
                <a:gd name="T40" fmla="*/ 51792 w 64"/>
                <a:gd name="T41" fmla="*/ 44053 h 64"/>
                <a:gd name="T42" fmla="*/ 34528 w 64"/>
                <a:gd name="T43" fmla="*/ 44053 h 64"/>
                <a:gd name="T44" fmla="*/ 0 w 64"/>
                <a:gd name="T45" fmla="*/ 58738 h 64"/>
                <a:gd name="T46" fmla="*/ 0 w 64"/>
                <a:gd name="T47" fmla="*/ 73422 h 6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4"/>
                <a:gd name="T73" fmla="*/ 0 h 64"/>
                <a:gd name="T74" fmla="*/ 64 w 64"/>
                <a:gd name="T75" fmla="*/ 64 h 6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4" h="64">
                  <a:moveTo>
                    <a:pt x="0" y="40"/>
                  </a:moveTo>
                  <a:lnTo>
                    <a:pt x="0" y="48"/>
                  </a:lnTo>
                  <a:lnTo>
                    <a:pt x="8" y="32"/>
                  </a:lnTo>
                  <a:lnTo>
                    <a:pt x="8" y="40"/>
                  </a:lnTo>
                  <a:lnTo>
                    <a:pt x="24" y="32"/>
                  </a:lnTo>
                  <a:lnTo>
                    <a:pt x="32" y="40"/>
                  </a:lnTo>
                  <a:lnTo>
                    <a:pt x="24" y="56"/>
                  </a:lnTo>
                  <a:lnTo>
                    <a:pt x="48" y="64"/>
                  </a:lnTo>
                  <a:lnTo>
                    <a:pt x="48" y="56"/>
                  </a:lnTo>
                  <a:lnTo>
                    <a:pt x="48" y="48"/>
                  </a:lnTo>
                  <a:lnTo>
                    <a:pt x="48" y="40"/>
                  </a:lnTo>
                  <a:lnTo>
                    <a:pt x="56" y="56"/>
                  </a:lnTo>
                  <a:lnTo>
                    <a:pt x="64" y="40"/>
                  </a:lnTo>
                  <a:lnTo>
                    <a:pt x="56" y="16"/>
                  </a:lnTo>
                  <a:lnTo>
                    <a:pt x="40" y="0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32" y="16"/>
                  </a:lnTo>
                  <a:lnTo>
                    <a:pt x="32" y="24"/>
                  </a:lnTo>
                  <a:lnTo>
                    <a:pt x="24" y="32"/>
                  </a:lnTo>
                  <a:lnTo>
                    <a:pt x="24" y="24"/>
                  </a:lnTo>
                  <a:lnTo>
                    <a:pt x="16" y="24"/>
                  </a:lnTo>
                  <a:lnTo>
                    <a:pt x="0" y="32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6" name="Freeform 334">
              <a:extLst>
                <a:ext uri="{FF2B5EF4-FFF2-40B4-BE49-F238E27FC236}">
                  <a16:creationId xmlns:a16="http://schemas.microsoft.com/office/drawing/2014/main" id="{1C749053-BA7F-2213-8E92-BF273CA43E16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9050338" y="4811713"/>
              <a:ext cx="122238" cy="58738"/>
            </a:xfrm>
            <a:custGeom>
              <a:avLst/>
              <a:gdLst>
                <a:gd name="T0" fmla="*/ 0 w 56"/>
                <a:gd name="T1" fmla="*/ 29369 h 32"/>
                <a:gd name="T2" fmla="*/ 17463 w 56"/>
                <a:gd name="T3" fmla="*/ 58738 h 32"/>
                <a:gd name="T4" fmla="*/ 69850 w 56"/>
                <a:gd name="T5" fmla="*/ 58738 h 32"/>
                <a:gd name="T6" fmla="*/ 104775 w 56"/>
                <a:gd name="T7" fmla="*/ 29369 h 32"/>
                <a:gd name="T8" fmla="*/ 122238 w 56"/>
                <a:gd name="T9" fmla="*/ 14685 h 32"/>
                <a:gd name="T10" fmla="*/ 122238 w 56"/>
                <a:gd name="T11" fmla="*/ 0 h 32"/>
                <a:gd name="T12" fmla="*/ 104775 w 56"/>
                <a:gd name="T13" fmla="*/ 0 h 32"/>
                <a:gd name="T14" fmla="*/ 104775 w 56"/>
                <a:gd name="T15" fmla="*/ 14685 h 32"/>
                <a:gd name="T16" fmla="*/ 87313 w 56"/>
                <a:gd name="T17" fmla="*/ 14685 h 32"/>
                <a:gd name="T18" fmla="*/ 69850 w 56"/>
                <a:gd name="T19" fmla="*/ 29369 h 32"/>
                <a:gd name="T20" fmla="*/ 0 w 56"/>
                <a:gd name="T21" fmla="*/ 29369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6"/>
                <a:gd name="T34" fmla="*/ 0 h 32"/>
                <a:gd name="T35" fmla="*/ 56 w 56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6" h="32">
                  <a:moveTo>
                    <a:pt x="0" y="16"/>
                  </a:moveTo>
                  <a:lnTo>
                    <a:pt x="8" y="32"/>
                  </a:lnTo>
                  <a:lnTo>
                    <a:pt x="32" y="32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8" y="0"/>
                  </a:lnTo>
                  <a:lnTo>
                    <a:pt x="48" y="8"/>
                  </a:lnTo>
                  <a:lnTo>
                    <a:pt x="40" y="8"/>
                  </a:lnTo>
                  <a:lnTo>
                    <a:pt x="32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7" name="Freeform 335">
              <a:extLst>
                <a:ext uri="{FF2B5EF4-FFF2-40B4-BE49-F238E27FC236}">
                  <a16:creationId xmlns:a16="http://schemas.microsoft.com/office/drawing/2014/main" id="{FE6851C4-0964-3547-38A0-9670D48EAB2E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9137651" y="4767263"/>
              <a:ext cx="52388" cy="58738"/>
            </a:xfrm>
            <a:custGeom>
              <a:avLst/>
              <a:gdLst>
                <a:gd name="T0" fmla="*/ 0 w 24"/>
                <a:gd name="T1" fmla="*/ 0 h 32"/>
                <a:gd name="T2" fmla="*/ 34925 w 24"/>
                <a:gd name="T3" fmla="*/ 29369 h 32"/>
                <a:gd name="T4" fmla="*/ 52388 w 24"/>
                <a:gd name="T5" fmla="*/ 58738 h 32"/>
                <a:gd name="T6" fmla="*/ 52388 w 24"/>
                <a:gd name="T7" fmla="*/ 29369 h 32"/>
                <a:gd name="T8" fmla="*/ 17463 w 24"/>
                <a:gd name="T9" fmla="*/ 0 h 32"/>
                <a:gd name="T10" fmla="*/ 0 w 24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32"/>
                <a:gd name="T20" fmla="*/ 24 w 24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32">
                  <a:moveTo>
                    <a:pt x="0" y="0"/>
                  </a:moveTo>
                  <a:lnTo>
                    <a:pt x="16" y="16"/>
                  </a:lnTo>
                  <a:lnTo>
                    <a:pt x="24" y="32"/>
                  </a:lnTo>
                  <a:lnTo>
                    <a:pt x="24" y="16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8" name="Freeform 336">
              <a:extLst>
                <a:ext uri="{FF2B5EF4-FFF2-40B4-BE49-F238E27FC236}">
                  <a16:creationId xmlns:a16="http://schemas.microsoft.com/office/drawing/2014/main" id="{0503869F-2F6D-6A8D-3267-F0ADC8C95DF6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9240838" y="4840288"/>
              <a:ext cx="34925" cy="44450"/>
            </a:xfrm>
            <a:custGeom>
              <a:avLst/>
              <a:gdLst>
                <a:gd name="T0" fmla="*/ 0 w 16"/>
                <a:gd name="T1" fmla="*/ 0 h 24"/>
                <a:gd name="T2" fmla="*/ 17463 w 16"/>
                <a:gd name="T3" fmla="*/ 44450 h 24"/>
                <a:gd name="T4" fmla="*/ 34925 w 16"/>
                <a:gd name="T5" fmla="*/ 29633 h 24"/>
                <a:gd name="T6" fmla="*/ 0 w 16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24"/>
                <a:gd name="T14" fmla="*/ 16 w 16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24">
                  <a:moveTo>
                    <a:pt x="0" y="0"/>
                  </a:moveTo>
                  <a:lnTo>
                    <a:pt x="8" y="24"/>
                  </a:lnTo>
                  <a:lnTo>
                    <a:pt x="16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9" name="Freeform 337">
              <a:extLst>
                <a:ext uri="{FF2B5EF4-FFF2-40B4-BE49-F238E27FC236}">
                  <a16:creationId xmlns:a16="http://schemas.microsoft.com/office/drawing/2014/main" id="{2DFAC3C0-426C-14BC-9D89-0D6B36FABE3B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2913063" y="3128963"/>
              <a:ext cx="34925" cy="15875"/>
            </a:xfrm>
            <a:custGeom>
              <a:avLst/>
              <a:gdLst>
                <a:gd name="T0" fmla="*/ 0 w 16"/>
                <a:gd name="T1" fmla="*/ 0 h 8"/>
                <a:gd name="T2" fmla="*/ 17463 w 16"/>
                <a:gd name="T3" fmla="*/ 0 h 8"/>
                <a:gd name="T4" fmla="*/ 0 w 16"/>
                <a:gd name="T5" fmla="*/ 15875 h 8"/>
                <a:gd name="T6" fmla="*/ 17463 w 16"/>
                <a:gd name="T7" fmla="*/ 0 h 8"/>
                <a:gd name="T8" fmla="*/ 17463 w 16"/>
                <a:gd name="T9" fmla="*/ 15875 h 8"/>
                <a:gd name="T10" fmla="*/ 34925 w 16"/>
                <a:gd name="T11" fmla="*/ 0 h 8"/>
                <a:gd name="T12" fmla="*/ 0 w 16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8"/>
                <a:gd name="T23" fmla="*/ 16 w 1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8">
                  <a:moveTo>
                    <a:pt x="0" y="0"/>
                  </a:moveTo>
                  <a:lnTo>
                    <a:pt x="8" y="0"/>
                  </a:lnTo>
                  <a:lnTo>
                    <a:pt x="0" y="8"/>
                  </a:lnTo>
                  <a:lnTo>
                    <a:pt x="8" y="0"/>
                  </a:lnTo>
                  <a:lnTo>
                    <a:pt x="8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0" name="Freeform 338">
              <a:extLst>
                <a:ext uri="{FF2B5EF4-FFF2-40B4-BE49-F238E27FC236}">
                  <a16:creationId xmlns:a16="http://schemas.microsoft.com/office/drawing/2014/main" id="{9F755E42-20FF-94E8-934B-DB65E283B37F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2809876" y="3217863"/>
              <a:ext cx="15875" cy="14288"/>
            </a:xfrm>
            <a:custGeom>
              <a:avLst/>
              <a:gdLst>
                <a:gd name="T0" fmla="*/ 0 w 8"/>
                <a:gd name="T1" fmla="*/ 0 h 8"/>
                <a:gd name="T2" fmla="*/ 15875 w 8"/>
                <a:gd name="T3" fmla="*/ 14288 h 8"/>
                <a:gd name="T4" fmla="*/ 15875 w 8"/>
                <a:gd name="T5" fmla="*/ 0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1" name="Freeform 339">
              <a:extLst>
                <a:ext uri="{FF2B5EF4-FFF2-40B4-BE49-F238E27FC236}">
                  <a16:creationId xmlns:a16="http://schemas.microsoft.com/office/drawing/2014/main" id="{3458DEA0-B07A-8010-7B8E-6D47B4C21CD2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8272463" y="3189288"/>
              <a:ext cx="225425" cy="220663"/>
            </a:xfrm>
            <a:custGeom>
              <a:avLst/>
              <a:gdLst>
                <a:gd name="T0" fmla="*/ 17340 w 104"/>
                <a:gd name="T1" fmla="*/ 29422 h 120"/>
                <a:gd name="T2" fmla="*/ 156063 w 104"/>
                <a:gd name="T3" fmla="*/ 161820 h 120"/>
                <a:gd name="T4" fmla="*/ 173404 w 104"/>
                <a:gd name="T5" fmla="*/ 205952 h 120"/>
                <a:gd name="T6" fmla="*/ 190744 w 104"/>
                <a:gd name="T7" fmla="*/ 220663 h 120"/>
                <a:gd name="T8" fmla="*/ 190744 w 104"/>
                <a:gd name="T9" fmla="*/ 205952 h 120"/>
                <a:gd name="T10" fmla="*/ 225425 w 104"/>
                <a:gd name="T11" fmla="*/ 205952 h 120"/>
                <a:gd name="T12" fmla="*/ 156063 w 104"/>
                <a:gd name="T13" fmla="*/ 161820 h 120"/>
                <a:gd name="T14" fmla="*/ 156063 w 104"/>
                <a:gd name="T15" fmla="*/ 132398 h 120"/>
                <a:gd name="T16" fmla="*/ 190744 w 104"/>
                <a:gd name="T17" fmla="*/ 132398 h 120"/>
                <a:gd name="T18" fmla="*/ 34681 w 104"/>
                <a:gd name="T19" fmla="*/ 0 h 120"/>
                <a:gd name="T20" fmla="*/ 0 w 104"/>
                <a:gd name="T21" fmla="*/ 0 h 120"/>
                <a:gd name="T22" fmla="*/ 17340 w 104"/>
                <a:gd name="T23" fmla="*/ 14711 h 120"/>
                <a:gd name="T24" fmla="*/ 17340 w 104"/>
                <a:gd name="T25" fmla="*/ 29422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20"/>
                <a:gd name="T41" fmla="*/ 104 w 104"/>
                <a:gd name="T42" fmla="*/ 120 h 12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20">
                  <a:moveTo>
                    <a:pt x="8" y="16"/>
                  </a:moveTo>
                  <a:lnTo>
                    <a:pt x="72" y="88"/>
                  </a:lnTo>
                  <a:lnTo>
                    <a:pt x="80" y="112"/>
                  </a:lnTo>
                  <a:lnTo>
                    <a:pt x="88" y="120"/>
                  </a:lnTo>
                  <a:lnTo>
                    <a:pt x="88" y="112"/>
                  </a:lnTo>
                  <a:lnTo>
                    <a:pt x="104" y="112"/>
                  </a:lnTo>
                  <a:lnTo>
                    <a:pt x="72" y="88"/>
                  </a:lnTo>
                  <a:lnTo>
                    <a:pt x="72" y="72"/>
                  </a:lnTo>
                  <a:lnTo>
                    <a:pt x="88" y="72"/>
                  </a:lnTo>
                  <a:lnTo>
                    <a:pt x="16" y="0"/>
                  </a:lnTo>
                  <a:lnTo>
                    <a:pt x="0" y="0"/>
                  </a:lnTo>
                  <a:lnTo>
                    <a:pt x="8" y="8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2" name="Freeform 340">
              <a:extLst>
                <a:ext uri="{FF2B5EF4-FFF2-40B4-BE49-F238E27FC236}">
                  <a16:creationId xmlns:a16="http://schemas.microsoft.com/office/drawing/2014/main" id="{9607978D-39E2-32DC-865E-E4C52A182AD1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5540376" y="3675063"/>
              <a:ext cx="17463" cy="14288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14288 h 8"/>
                <a:gd name="T4" fmla="*/ 17463 w 8"/>
                <a:gd name="T5" fmla="*/ 0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3" name="Line 341">
              <a:extLst>
                <a:ext uri="{FF2B5EF4-FFF2-40B4-BE49-F238E27FC236}">
                  <a16:creationId xmlns:a16="http://schemas.microsoft.com/office/drawing/2014/main" id="{B8E28EED-3E5A-98E8-532B-79C6F8FAE193}"/>
                </a:ext>
              </a:extLst>
            </p:cNvPr>
            <p:cNvSpPr>
              <a:spLocks noChangeShapeType="1"/>
            </p:cNvSpPr>
            <p:nvPr>
              <p:custDataLst>
                <p:tags r:id="rId306"/>
              </p:custDataLst>
            </p:nvPr>
          </p:nvSpPr>
          <p:spPr bwMode="auto">
            <a:xfrm>
              <a:off x="8377238" y="4752976"/>
              <a:ext cx="17463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4" name="Line 342">
              <a:extLst>
                <a:ext uri="{FF2B5EF4-FFF2-40B4-BE49-F238E27FC236}">
                  <a16:creationId xmlns:a16="http://schemas.microsoft.com/office/drawing/2014/main" id="{0A440892-7166-657D-A0D8-1AAE3CAB6E6A}"/>
                </a:ext>
              </a:extLst>
            </p:cNvPr>
            <p:cNvSpPr>
              <a:spLocks noChangeShapeType="1"/>
            </p:cNvSpPr>
            <p:nvPr>
              <p:custDataLst>
                <p:tags r:id="rId307"/>
              </p:custDataLst>
            </p:nvPr>
          </p:nvSpPr>
          <p:spPr bwMode="auto">
            <a:xfrm flipV="1">
              <a:off x="5022851" y="4605338"/>
              <a:ext cx="1588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5" name="Freeform 343">
              <a:extLst>
                <a:ext uri="{FF2B5EF4-FFF2-40B4-BE49-F238E27FC236}">
                  <a16:creationId xmlns:a16="http://schemas.microsoft.com/office/drawing/2014/main" id="{E3E52376-2B86-7558-A076-4E79DEAE2996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8515351" y="5003801"/>
              <a:ext cx="34925" cy="28575"/>
            </a:xfrm>
            <a:custGeom>
              <a:avLst/>
              <a:gdLst>
                <a:gd name="T0" fmla="*/ 0 w 16"/>
                <a:gd name="T1" fmla="*/ 14288 h 16"/>
                <a:gd name="T2" fmla="*/ 17463 w 16"/>
                <a:gd name="T3" fmla="*/ 28575 h 16"/>
                <a:gd name="T4" fmla="*/ 34925 w 16"/>
                <a:gd name="T5" fmla="*/ 14288 h 16"/>
                <a:gd name="T6" fmla="*/ 34925 w 16"/>
                <a:gd name="T7" fmla="*/ 0 h 16"/>
                <a:gd name="T8" fmla="*/ 0 w 16"/>
                <a:gd name="T9" fmla="*/ 0 h 16"/>
                <a:gd name="T10" fmla="*/ 0 w 16"/>
                <a:gd name="T11" fmla="*/ 14288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16"/>
                <a:gd name="T20" fmla="*/ 16 w 16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16">
                  <a:moveTo>
                    <a:pt x="0" y="8"/>
                  </a:moveTo>
                  <a:lnTo>
                    <a:pt x="8" y="16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6" name="Freeform 344">
              <a:extLst>
                <a:ext uri="{FF2B5EF4-FFF2-40B4-BE49-F238E27FC236}">
                  <a16:creationId xmlns:a16="http://schemas.microsoft.com/office/drawing/2014/main" id="{4656FBDD-815D-2C1E-8551-75EE1843B326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8324851" y="4929188"/>
              <a:ext cx="120650" cy="44450"/>
            </a:xfrm>
            <a:custGeom>
              <a:avLst/>
              <a:gdLst>
                <a:gd name="T0" fmla="*/ 0 w 56"/>
                <a:gd name="T1" fmla="*/ 44450 h 24"/>
                <a:gd name="T2" fmla="*/ 34471 w 56"/>
                <a:gd name="T3" fmla="*/ 44450 h 24"/>
                <a:gd name="T4" fmla="*/ 51707 w 56"/>
                <a:gd name="T5" fmla="*/ 14817 h 24"/>
                <a:gd name="T6" fmla="*/ 120650 w 56"/>
                <a:gd name="T7" fmla="*/ 0 h 24"/>
                <a:gd name="T8" fmla="*/ 51707 w 56"/>
                <a:gd name="T9" fmla="*/ 0 h 24"/>
                <a:gd name="T10" fmla="*/ 17236 w 56"/>
                <a:gd name="T11" fmla="*/ 29633 h 24"/>
                <a:gd name="T12" fmla="*/ 0 w 56"/>
                <a:gd name="T13" fmla="*/ 4445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6"/>
                <a:gd name="T22" fmla="*/ 0 h 24"/>
                <a:gd name="T23" fmla="*/ 56 w 56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6" h="24">
                  <a:moveTo>
                    <a:pt x="0" y="24"/>
                  </a:moveTo>
                  <a:lnTo>
                    <a:pt x="16" y="24"/>
                  </a:lnTo>
                  <a:lnTo>
                    <a:pt x="24" y="8"/>
                  </a:lnTo>
                  <a:lnTo>
                    <a:pt x="56" y="0"/>
                  </a:lnTo>
                  <a:lnTo>
                    <a:pt x="24" y="0"/>
                  </a:lnTo>
                  <a:lnTo>
                    <a:pt x="8" y="16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7" name="Freeform 345">
              <a:extLst>
                <a:ext uri="{FF2B5EF4-FFF2-40B4-BE49-F238E27FC236}">
                  <a16:creationId xmlns:a16="http://schemas.microsoft.com/office/drawing/2014/main" id="{BA0F87CC-33AE-B128-BC35-A922CA15967B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2670176" y="3409951"/>
              <a:ext cx="34925" cy="14288"/>
            </a:xfrm>
            <a:custGeom>
              <a:avLst/>
              <a:gdLst>
                <a:gd name="T0" fmla="*/ 0 w 16"/>
                <a:gd name="T1" fmla="*/ 0 h 8"/>
                <a:gd name="T2" fmla="*/ 17463 w 16"/>
                <a:gd name="T3" fmla="*/ 14288 h 8"/>
                <a:gd name="T4" fmla="*/ 34925 w 16"/>
                <a:gd name="T5" fmla="*/ 0 h 8"/>
                <a:gd name="T6" fmla="*/ 0 w 16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8"/>
                <a:gd name="T14" fmla="*/ 16 w 16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8">
                  <a:moveTo>
                    <a:pt x="0" y="0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8" name="Freeform 346">
              <a:extLst>
                <a:ext uri="{FF2B5EF4-FFF2-40B4-BE49-F238E27FC236}">
                  <a16:creationId xmlns:a16="http://schemas.microsoft.com/office/drawing/2014/main" id="{FCD85129-134D-DEAE-8DE1-D0BD88BC4E13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8134351" y="3159126"/>
              <a:ext cx="17463" cy="14288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9" name="Freeform 347">
              <a:extLst>
                <a:ext uri="{FF2B5EF4-FFF2-40B4-BE49-F238E27FC236}">
                  <a16:creationId xmlns:a16="http://schemas.microsoft.com/office/drawing/2014/main" id="{4EA16DEE-2D8B-C2C6-5DA2-22FFDBC617AE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5091113" y="3144838"/>
              <a:ext cx="34925" cy="14288"/>
            </a:xfrm>
            <a:custGeom>
              <a:avLst/>
              <a:gdLst>
                <a:gd name="T0" fmla="*/ 0 w 16"/>
                <a:gd name="T1" fmla="*/ 0 h 8"/>
                <a:gd name="T2" fmla="*/ 0 w 16"/>
                <a:gd name="T3" fmla="*/ 14288 h 8"/>
                <a:gd name="T4" fmla="*/ 17463 w 16"/>
                <a:gd name="T5" fmla="*/ 14288 h 8"/>
                <a:gd name="T6" fmla="*/ 34925 w 16"/>
                <a:gd name="T7" fmla="*/ 14288 h 8"/>
                <a:gd name="T8" fmla="*/ 17463 w 16"/>
                <a:gd name="T9" fmla="*/ 14288 h 8"/>
                <a:gd name="T10" fmla="*/ 34925 w 16"/>
                <a:gd name="T11" fmla="*/ 0 h 8"/>
                <a:gd name="T12" fmla="*/ 0 w 16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8"/>
                <a:gd name="T23" fmla="*/ 16 w 1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8">
                  <a:moveTo>
                    <a:pt x="0" y="0"/>
                  </a:moveTo>
                  <a:lnTo>
                    <a:pt x="0" y="8"/>
                  </a:lnTo>
                  <a:lnTo>
                    <a:pt x="8" y="8"/>
                  </a:lnTo>
                  <a:lnTo>
                    <a:pt x="16" y="8"/>
                  </a:lnTo>
                  <a:lnTo>
                    <a:pt x="8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0" name="Line 348">
              <a:extLst>
                <a:ext uri="{FF2B5EF4-FFF2-40B4-BE49-F238E27FC236}">
                  <a16:creationId xmlns:a16="http://schemas.microsoft.com/office/drawing/2014/main" id="{A3DC7A79-E4F4-6828-5228-78C030646CA4}"/>
                </a:ext>
              </a:extLst>
            </p:cNvPr>
            <p:cNvSpPr>
              <a:spLocks noChangeShapeType="1"/>
            </p:cNvSpPr>
            <p:nvPr>
              <p:custDataLst>
                <p:tags r:id="rId313"/>
              </p:custDataLst>
            </p:nvPr>
          </p:nvSpPr>
          <p:spPr bwMode="auto">
            <a:xfrm flipV="1">
              <a:off x="5073651" y="3159126"/>
              <a:ext cx="3175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1" name="Line 349">
              <a:extLst>
                <a:ext uri="{FF2B5EF4-FFF2-40B4-BE49-F238E27FC236}">
                  <a16:creationId xmlns:a16="http://schemas.microsoft.com/office/drawing/2014/main" id="{F7F187C7-972C-FA4E-0EA7-CC8F988F5673}"/>
                </a:ext>
              </a:extLst>
            </p:cNvPr>
            <p:cNvSpPr>
              <a:spLocks noChangeShapeType="1"/>
            </p:cNvSpPr>
            <p:nvPr>
              <p:custDataLst>
                <p:tags r:id="rId314"/>
              </p:custDataLst>
            </p:nvPr>
          </p:nvSpPr>
          <p:spPr bwMode="auto">
            <a:xfrm>
              <a:off x="5091113" y="3189288"/>
              <a:ext cx="17463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2" name="Freeform 350">
              <a:extLst>
                <a:ext uri="{FF2B5EF4-FFF2-40B4-BE49-F238E27FC236}">
                  <a16:creationId xmlns:a16="http://schemas.microsoft.com/office/drawing/2014/main" id="{A3788333-AD03-DC2C-9AE9-E3BA09963331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5540376" y="5489576"/>
              <a:ext cx="52388" cy="58738"/>
            </a:xfrm>
            <a:custGeom>
              <a:avLst/>
              <a:gdLst>
                <a:gd name="T0" fmla="*/ 52388 w 24"/>
                <a:gd name="T1" fmla="*/ 14685 h 32"/>
                <a:gd name="T2" fmla="*/ 52388 w 24"/>
                <a:gd name="T3" fmla="*/ 29369 h 32"/>
                <a:gd name="T4" fmla="*/ 17463 w 24"/>
                <a:gd name="T5" fmla="*/ 58738 h 32"/>
                <a:gd name="T6" fmla="*/ 0 w 24"/>
                <a:gd name="T7" fmla="*/ 29369 h 32"/>
                <a:gd name="T8" fmla="*/ 34925 w 24"/>
                <a:gd name="T9" fmla="*/ 0 h 32"/>
                <a:gd name="T10" fmla="*/ 52388 w 24"/>
                <a:gd name="T11" fmla="*/ 0 h 32"/>
                <a:gd name="T12" fmla="*/ 52388 w 24"/>
                <a:gd name="T13" fmla="*/ 14685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32"/>
                <a:gd name="T23" fmla="*/ 24 w 2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32">
                  <a:moveTo>
                    <a:pt x="24" y="8"/>
                  </a:moveTo>
                  <a:lnTo>
                    <a:pt x="24" y="16"/>
                  </a:lnTo>
                  <a:lnTo>
                    <a:pt x="8" y="32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3" name="Line 352">
              <a:extLst>
                <a:ext uri="{FF2B5EF4-FFF2-40B4-BE49-F238E27FC236}">
                  <a16:creationId xmlns:a16="http://schemas.microsoft.com/office/drawing/2014/main" id="{799AC437-A1B8-95BB-D889-7B4385225843}"/>
                </a:ext>
              </a:extLst>
            </p:cNvPr>
            <p:cNvSpPr>
              <a:spLocks noChangeShapeType="1"/>
            </p:cNvSpPr>
            <p:nvPr>
              <p:custDataLst>
                <p:tags r:id="rId316"/>
              </p:custDataLst>
            </p:nvPr>
          </p:nvSpPr>
          <p:spPr bwMode="auto">
            <a:xfrm flipV="1">
              <a:off x="2722563" y="3705226"/>
              <a:ext cx="17463" cy="142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4" name="Line 353">
              <a:extLst>
                <a:ext uri="{FF2B5EF4-FFF2-40B4-BE49-F238E27FC236}">
                  <a16:creationId xmlns:a16="http://schemas.microsoft.com/office/drawing/2014/main" id="{DD784E6B-F55F-EFFF-1DB6-3230A062F92D}"/>
                </a:ext>
              </a:extLst>
            </p:cNvPr>
            <p:cNvSpPr>
              <a:spLocks noChangeShapeType="1"/>
            </p:cNvSpPr>
            <p:nvPr>
              <p:custDataLst>
                <p:tags r:id="rId317"/>
              </p:custDataLst>
            </p:nvPr>
          </p:nvSpPr>
          <p:spPr bwMode="auto">
            <a:xfrm>
              <a:off x="7996238" y="4073526"/>
              <a:ext cx="17463" cy="1588"/>
            </a:xfrm>
            <a:prstGeom prst="lin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5" name="Freeform 354">
              <a:extLst>
                <a:ext uri="{FF2B5EF4-FFF2-40B4-BE49-F238E27FC236}">
                  <a16:creationId xmlns:a16="http://schemas.microsoft.com/office/drawing/2014/main" id="{58B0D21A-5E40-842A-9B5D-5A33E7C8AAA2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556126" y="3159126"/>
              <a:ext cx="120650" cy="103188"/>
            </a:xfrm>
            <a:custGeom>
              <a:avLst/>
              <a:gdLst>
                <a:gd name="T0" fmla="*/ 68943 w 56"/>
                <a:gd name="T1" fmla="*/ 14741 h 56"/>
                <a:gd name="T2" fmla="*/ 86179 w 56"/>
                <a:gd name="T3" fmla="*/ 29482 h 56"/>
                <a:gd name="T4" fmla="*/ 120650 w 56"/>
                <a:gd name="T5" fmla="*/ 29482 h 56"/>
                <a:gd name="T6" fmla="*/ 120650 w 56"/>
                <a:gd name="T7" fmla="*/ 58965 h 56"/>
                <a:gd name="T8" fmla="*/ 103414 w 56"/>
                <a:gd name="T9" fmla="*/ 88447 h 56"/>
                <a:gd name="T10" fmla="*/ 17236 w 56"/>
                <a:gd name="T11" fmla="*/ 103188 h 56"/>
                <a:gd name="T12" fmla="*/ 0 w 56"/>
                <a:gd name="T13" fmla="*/ 88447 h 56"/>
                <a:gd name="T14" fmla="*/ 17236 w 56"/>
                <a:gd name="T15" fmla="*/ 88447 h 56"/>
                <a:gd name="T16" fmla="*/ 51707 w 56"/>
                <a:gd name="T17" fmla="*/ 58965 h 56"/>
                <a:gd name="T18" fmla="*/ 17236 w 56"/>
                <a:gd name="T19" fmla="*/ 44223 h 56"/>
                <a:gd name="T20" fmla="*/ 34471 w 56"/>
                <a:gd name="T21" fmla="*/ 44223 h 56"/>
                <a:gd name="T22" fmla="*/ 17236 w 56"/>
                <a:gd name="T23" fmla="*/ 29482 h 56"/>
                <a:gd name="T24" fmla="*/ 34471 w 56"/>
                <a:gd name="T25" fmla="*/ 29482 h 56"/>
                <a:gd name="T26" fmla="*/ 51707 w 56"/>
                <a:gd name="T27" fmla="*/ 29482 h 56"/>
                <a:gd name="T28" fmla="*/ 68943 w 56"/>
                <a:gd name="T29" fmla="*/ 14741 h 56"/>
                <a:gd name="T30" fmla="*/ 51707 w 56"/>
                <a:gd name="T31" fmla="*/ 14741 h 56"/>
                <a:gd name="T32" fmla="*/ 68943 w 56"/>
                <a:gd name="T33" fmla="*/ 0 h 56"/>
                <a:gd name="T34" fmla="*/ 86179 w 56"/>
                <a:gd name="T35" fmla="*/ 0 h 56"/>
                <a:gd name="T36" fmla="*/ 68943 w 56"/>
                <a:gd name="T37" fmla="*/ 14741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6"/>
                <a:gd name="T58" fmla="*/ 0 h 56"/>
                <a:gd name="T59" fmla="*/ 56 w 56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6" h="56">
                  <a:moveTo>
                    <a:pt x="32" y="8"/>
                  </a:moveTo>
                  <a:lnTo>
                    <a:pt x="40" y="16"/>
                  </a:lnTo>
                  <a:lnTo>
                    <a:pt x="56" y="16"/>
                  </a:lnTo>
                  <a:lnTo>
                    <a:pt x="56" y="32"/>
                  </a:lnTo>
                  <a:lnTo>
                    <a:pt x="48" y="48"/>
                  </a:lnTo>
                  <a:lnTo>
                    <a:pt x="8" y="56"/>
                  </a:lnTo>
                  <a:lnTo>
                    <a:pt x="0" y="48"/>
                  </a:lnTo>
                  <a:lnTo>
                    <a:pt x="8" y="48"/>
                  </a:lnTo>
                  <a:lnTo>
                    <a:pt x="24" y="32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8" y="16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32" y="8"/>
                  </a:lnTo>
                  <a:lnTo>
                    <a:pt x="24" y="8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32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6" name="Freeform 355">
              <a:extLst>
                <a:ext uri="{FF2B5EF4-FFF2-40B4-BE49-F238E27FC236}">
                  <a16:creationId xmlns:a16="http://schemas.microsoft.com/office/drawing/2014/main" id="{8B689793-52B8-C1B9-6019-0CBB62050B1A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4900613" y="3203576"/>
              <a:ext cx="104775" cy="73025"/>
            </a:xfrm>
            <a:custGeom>
              <a:avLst/>
              <a:gdLst>
                <a:gd name="T0" fmla="*/ 0 w 48"/>
                <a:gd name="T1" fmla="*/ 58420 h 40"/>
                <a:gd name="T2" fmla="*/ 34925 w 48"/>
                <a:gd name="T3" fmla="*/ 14605 h 40"/>
                <a:gd name="T4" fmla="*/ 34925 w 48"/>
                <a:gd name="T5" fmla="*/ 29210 h 40"/>
                <a:gd name="T6" fmla="*/ 52387 w 48"/>
                <a:gd name="T7" fmla="*/ 29210 h 40"/>
                <a:gd name="T8" fmla="*/ 69850 w 48"/>
                <a:gd name="T9" fmla="*/ 29210 h 40"/>
                <a:gd name="T10" fmla="*/ 52387 w 48"/>
                <a:gd name="T11" fmla="*/ 14605 h 40"/>
                <a:gd name="T12" fmla="*/ 104775 w 48"/>
                <a:gd name="T13" fmla="*/ 0 h 40"/>
                <a:gd name="T14" fmla="*/ 87313 w 48"/>
                <a:gd name="T15" fmla="*/ 29210 h 40"/>
                <a:gd name="T16" fmla="*/ 69850 w 48"/>
                <a:gd name="T17" fmla="*/ 43815 h 40"/>
                <a:gd name="T18" fmla="*/ 69850 w 48"/>
                <a:gd name="T19" fmla="*/ 73025 h 40"/>
                <a:gd name="T20" fmla="*/ 34925 w 48"/>
                <a:gd name="T21" fmla="*/ 58420 h 40"/>
                <a:gd name="T22" fmla="*/ 0 w 48"/>
                <a:gd name="T23" fmla="*/ 58420 h 4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8"/>
                <a:gd name="T37" fmla="*/ 0 h 40"/>
                <a:gd name="T38" fmla="*/ 48 w 48"/>
                <a:gd name="T39" fmla="*/ 40 h 4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8" h="40">
                  <a:moveTo>
                    <a:pt x="0" y="32"/>
                  </a:moveTo>
                  <a:lnTo>
                    <a:pt x="16" y="8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32" y="16"/>
                  </a:lnTo>
                  <a:lnTo>
                    <a:pt x="24" y="8"/>
                  </a:lnTo>
                  <a:lnTo>
                    <a:pt x="48" y="0"/>
                  </a:lnTo>
                  <a:lnTo>
                    <a:pt x="40" y="16"/>
                  </a:lnTo>
                  <a:lnTo>
                    <a:pt x="32" y="24"/>
                  </a:lnTo>
                  <a:lnTo>
                    <a:pt x="32" y="40"/>
                  </a:lnTo>
                  <a:lnTo>
                    <a:pt x="16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7" name="Freeform 356">
              <a:extLst>
                <a:ext uri="{FF2B5EF4-FFF2-40B4-BE49-F238E27FC236}">
                  <a16:creationId xmlns:a16="http://schemas.microsoft.com/office/drawing/2014/main" id="{8D35B53B-CEDA-2A02-B0BD-2AA482E20319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5229226" y="3306763"/>
              <a:ext cx="139700" cy="58738"/>
            </a:xfrm>
            <a:custGeom>
              <a:avLst/>
              <a:gdLst>
                <a:gd name="T0" fmla="*/ 0 w 64"/>
                <a:gd name="T1" fmla="*/ 29369 h 32"/>
                <a:gd name="T2" fmla="*/ 17463 w 64"/>
                <a:gd name="T3" fmla="*/ 44053 h 32"/>
                <a:gd name="T4" fmla="*/ 52387 w 64"/>
                <a:gd name="T5" fmla="*/ 58738 h 32"/>
                <a:gd name="T6" fmla="*/ 104775 w 64"/>
                <a:gd name="T7" fmla="*/ 29369 h 32"/>
                <a:gd name="T8" fmla="*/ 139700 w 64"/>
                <a:gd name="T9" fmla="*/ 29369 h 32"/>
                <a:gd name="T10" fmla="*/ 139700 w 64"/>
                <a:gd name="T11" fmla="*/ 14685 h 32"/>
                <a:gd name="T12" fmla="*/ 122237 w 64"/>
                <a:gd name="T13" fmla="*/ 14685 h 32"/>
                <a:gd name="T14" fmla="*/ 87312 w 64"/>
                <a:gd name="T15" fmla="*/ 14685 h 32"/>
                <a:gd name="T16" fmla="*/ 34925 w 64"/>
                <a:gd name="T17" fmla="*/ 0 h 32"/>
                <a:gd name="T18" fmla="*/ 0 w 64"/>
                <a:gd name="T19" fmla="*/ 29369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4"/>
                <a:gd name="T31" fmla="*/ 0 h 32"/>
                <a:gd name="T32" fmla="*/ 64 w 64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4" h="32">
                  <a:moveTo>
                    <a:pt x="0" y="16"/>
                  </a:moveTo>
                  <a:lnTo>
                    <a:pt x="8" y="24"/>
                  </a:lnTo>
                  <a:lnTo>
                    <a:pt x="24" y="32"/>
                  </a:lnTo>
                  <a:lnTo>
                    <a:pt x="48" y="16"/>
                  </a:lnTo>
                  <a:lnTo>
                    <a:pt x="64" y="16"/>
                  </a:lnTo>
                  <a:lnTo>
                    <a:pt x="64" y="8"/>
                  </a:lnTo>
                  <a:lnTo>
                    <a:pt x="56" y="8"/>
                  </a:lnTo>
                  <a:lnTo>
                    <a:pt x="40" y="8"/>
                  </a:lnTo>
                  <a:lnTo>
                    <a:pt x="16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8" name="Freeform 357">
              <a:extLst>
                <a:ext uri="{FF2B5EF4-FFF2-40B4-BE49-F238E27FC236}">
                  <a16:creationId xmlns:a16="http://schemas.microsoft.com/office/drawing/2014/main" id="{A03BC5C6-9AA9-ED13-5E38-154926A5DE94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5108576" y="3262313"/>
              <a:ext cx="155575" cy="73025"/>
            </a:xfrm>
            <a:custGeom>
              <a:avLst/>
              <a:gdLst>
                <a:gd name="T0" fmla="*/ 155575 w 72"/>
                <a:gd name="T1" fmla="*/ 43815 h 40"/>
                <a:gd name="T2" fmla="*/ 121003 w 72"/>
                <a:gd name="T3" fmla="*/ 29210 h 40"/>
                <a:gd name="T4" fmla="*/ 103717 w 72"/>
                <a:gd name="T5" fmla="*/ 14605 h 40"/>
                <a:gd name="T6" fmla="*/ 69144 w 72"/>
                <a:gd name="T7" fmla="*/ 14605 h 40"/>
                <a:gd name="T8" fmla="*/ 69144 w 72"/>
                <a:gd name="T9" fmla="*/ 0 h 40"/>
                <a:gd name="T10" fmla="*/ 0 w 72"/>
                <a:gd name="T11" fmla="*/ 29210 h 40"/>
                <a:gd name="T12" fmla="*/ 17286 w 72"/>
                <a:gd name="T13" fmla="*/ 43815 h 40"/>
                <a:gd name="T14" fmla="*/ 51858 w 72"/>
                <a:gd name="T15" fmla="*/ 73025 h 40"/>
                <a:gd name="T16" fmla="*/ 69144 w 72"/>
                <a:gd name="T17" fmla="*/ 73025 h 40"/>
                <a:gd name="T18" fmla="*/ 86431 w 72"/>
                <a:gd name="T19" fmla="*/ 58420 h 40"/>
                <a:gd name="T20" fmla="*/ 121003 w 72"/>
                <a:gd name="T21" fmla="*/ 73025 h 40"/>
                <a:gd name="T22" fmla="*/ 155575 w 72"/>
                <a:gd name="T23" fmla="*/ 43815 h 4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2"/>
                <a:gd name="T37" fmla="*/ 0 h 40"/>
                <a:gd name="T38" fmla="*/ 72 w 72"/>
                <a:gd name="T39" fmla="*/ 40 h 4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2" h="40">
                  <a:moveTo>
                    <a:pt x="72" y="24"/>
                  </a:moveTo>
                  <a:lnTo>
                    <a:pt x="56" y="16"/>
                  </a:lnTo>
                  <a:lnTo>
                    <a:pt x="48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16"/>
                  </a:lnTo>
                  <a:lnTo>
                    <a:pt x="8" y="24"/>
                  </a:lnTo>
                  <a:lnTo>
                    <a:pt x="24" y="40"/>
                  </a:lnTo>
                  <a:lnTo>
                    <a:pt x="32" y="40"/>
                  </a:lnTo>
                  <a:lnTo>
                    <a:pt x="40" y="32"/>
                  </a:lnTo>
                  <a:lnTo>
                    <a:pt x="56" y="40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89" name="Group 366">
              <a:extLst>
                <a:ext uri="{FF2B5EF4-FFF2-40B4-BE49-F238E27FC236}">
                  <a16:creationId xmlns:a16="http://schemas.microsoft.com/office/drawing/2014/main" id="{E5AA9CB1-53E7-8749-765D-DD9904DF2803}"/>
                </a:ext>
              </a:extLst>
            </p:cNvPr>
            <p:cNvGrpSpPr>
              <a:grpSpLocks/>
            </p:cNvGrpSpPr>
            <p:nvPr/>
          </p:nvGrpSpPr>
          <p:grpSpPr>
            <a:xfrm>
              <a:off x="5402263" y="4044951"/>
              <a:ext cx="466725" cy="544512"/>
              <a:chOff x="6392864" y="4495007"/>
              <a:chExt cx="1801474" cy="2120106"/>
            </a:xfrm>
            <a:grpFill/>
          </p:grpSpPr>
          <p:sp>
            <p:nvSpPr>
              <p:cNvPr id="690" name="Freeform 35">
                <a:extLst>
                  <a:ext uri="{FF2B5EF4-FFF2-40B4-BE49-F238E27FC236}">
                    <a16:creationId xmlns:a16="http://schemas.microsoft.com/office/drawing/2014/main" id="{2C93D154-6DC0-EA5F-7A46-D47460765ECC}"/>
                  </a:ext>
                </a:extLst>
              </p:cNvPr>
              <p:cNvSpPr>
                <a:spLocks/>
              </p:cNvSpPr>
              <p:nvPr>
                <p:custDataLst>
                  <p:tags r:id="rId322"/>
                </p:custDataLst>
              </p:nvPr>
            </p:nvSpPr>
            <p:spPr bwMode="auto">
              <a:xfrm>
                <a:off x="6678757" y="5683793"/>
                <a:ext cx="1242630" cy="931320"/>
              </a:xfrm>
              <a:custGeom>
                <a:avLst/>
                <a:gdLst>
                  <a:gd name="T0" fmla="*/ 414867 w 216"/>
                  <a:gd name="T1" fmla="*/ 250182 h 296"/>
                  <a:gd name="T2" fmla="*/ 432153 w 216"/>
                  <a:gd name="T3" fmla="*/ 176599 h 296"/>
                  <a:gd name="T4" fmla="*/ 466725 w 216"/>
                  <a:gd name="T5" fmla="*/ 161882 h 296"/>
                  <a:gd name="T6" fmla="*/ 466725 w 216"/>
                  <a:gd name="T7" fmla="*/ 147166 h 296"/>
                  <a:gd name="T8" fmla="*/ 449439 w 216"/>
                  <a:gd name="T9" fmla="*/ 132449 h 296"/>
                  <a:gd name="T10" fmla="*/ 414867 w 216"/>
                  <a:gd name="T11" fmla="*/ 29433 h 296"/>
                  <a:gd name="T12" fmla="*/ 380294 w 216"/>
                  <a:gd name="T13" fmla="*/ 14717 h 296"/>
                  <a:gd name="T14" fmla="*/ 380294 w 216"/>
                  <a:gd name="T15" fmla="*/ 0 h 296"/>
                  <a:gd name="T16" fmla="*/ 345722 w 216"/>
                  <a:gd name="T17" fmla="*/ 29433 h 296"/>
                  <a:gd name="T18" fmla="*/ 311150 w 216"/>
                  <a:gd name="T19" fmla="*/ 29433 h 296"/>
                  <a:gd name="T20" fmla="*/ 86431 w 216"/>
                  <a:gd name="T21" fmla="*/ 29433 h 296"/>
                  <a:gd name="T22" fmla="*/ 86431 w 216"/>
                  <a:gd name="T23" fmla="*/ 88299 h 296"/>
                  <a:gd name="T24" fmla="*/ 51858 w 216"/>
                  <a:gd name="T25" fmla="*/ 88299 h 296"/>
                  <a:gd name="T26" fmla="*/ 51858 w 216"/>
                  <a:gd name="T27" fmla="*/ 103016 h 296"/>
                  <a:gd name="T28" fmla="*/ 51858 w 216"/>
                  <a:gd name="T29" fmla="*/ 191315 h 296"/>
                  <a:gd name="T30" fmla="*/ 51858 w 216"/>
                  <a:gd name="T31" fmla="*/ 206032 h 296"/>
                  <a:gd name="T32" fmla="*/ 34572 w 216"/>
                  <a:gd name="T33" fmla="*/ 206032 h 296"/>
                  <a:gd name="T34" fmla="*/ 0 w 216"/>
                  <a:gd name="T35" fmla="*/ 279615 h 296"/>
                  <a:gd name="T36" fmla="*/ 34572 w 216"/>
                  <a:gd name="T37" fmla="*/ 323764 h 296"/>
                  <a:gd name="T38" fmla="*/ 17286 w 216"/>
                  <a:gd name="T39" fmla="*/ 338481 h 296"/>
                  <a:gd name="T40" fmla="*/ 51858 w 216"/>
                  <a:gd name="T41" fmla="*/ 367914 h 296"/>
                  <a:gd name="T42" fmla="*/ 51858 w 216"/>
                  <a:gd name="T43" fmla="*/ 397347 h 296"/>
                  <a:gd name="T44" fmla="*/ 86431 w 216"/>
                  <a:gd name="T45" fmla="*/ 412064 h 296"/>
                  <a:gd name="T46" fmla="*/ 172861 w 216"/>
                  <a:gd name="T47" fmla="*/ 500363 h 296"/>
                  <a:gd name="T48" fmla="*/ 190147 w 216"/>
                  <a:gd name="T49" fmla="*/ 515080 h 296"/>
                  <a:gd name="T50" fmla="*/ 224719 w 216"/>
                  <a:gd name="T51" fmla="*/ 515080 h 296"/>
                  <a:gd name="T52" fmla="*/ 259292 w 216"/>
                  <a:gd name="T53" fmla="*/ 544513 h 296"/>
                  <a:gd name="T54" fmla="*/ 293864 w 216"/>
                  <a:gd name="T55" fmla="*/ 544513 h 296"/>
                  <a:gd name="T56" fmla="*/ 345722 w 216"/>
                  <a:gd name="T57" fmla="*/ 529796 h 296"/>
                  <a:gd name="T58" fmla="*/ 363008 w 216"/>
                  <a:gd name="T59" fmla="*/ 515080 h 296"/>
                  <a:gd name="T60" fmla="*/ 397581 w 216"/>
                  <a:gd name="T61" fmla="*/ 515080 h 296"/>
                  <a:gd name="T62" fmla="*/ 397581 w 216"/>
                  <a:gd name="T63" fmla="*/ 500363 h 296"/>
                  <a:gd name="T64" fmla="*/ 380294 w 216"/>
                  <a:gd name="T65" fmla="*/ 485647 h 296"/>
                  <a:gd name="T66" fmla="*/ 345722 w 216"/>
                  <a:gd name="T67" fmla="*/ 441497 h 296"/>
                  <a:gd name="T68" fmla="*/ 328436 w 216"/>
                  <a:gd name="T69" fmla="*/ 426780 h 296"/>
                  <a:gd name="T70" fmla="*/ 328436 w 216"/>
                  <a:gd name="T71" fmla="*/ 412064 h 296"/>
                  <a:gd name="T72" fmla="*/ 345722 w 216"/>
                  <a:gd name="T73" fmla="*/ 412064 h 296"/>
                  <a:gd name="T74" fmla="*/ 363008 w 216"/>
                  <a:gd name="T75" fmla="*/ 353198 h 296"/>
                  <a:gd name="T76" fmla="*/ 414867 w 216"/>
                  <a:gd name="T77" fmla="*/ 279615 h 296"/>
                  <a:gd name="T78" fmla="*/ 414867 w 216"/>
                  <a:gd name="T79" fmla="*/ 250182 h 29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16"/>
                  <a:gd name="T121" fmla="*/ 0 h 296"/>
                  <a:gd name="T122" fmla="*/ 216 w 216"/>
                  <a:gd name="T123" fmla="*/ 296 h 296"/>
                  <a:gd name="connsiteX0" fmla="*/ 8889 w 10000"/>
                  <a:gd name="connsiteY0" fmla="*/ 4325 h 9730"/>
                  <a:gd name="connsiteX1" fmla="*/ 9259 w 10000"/>
                  <a:gd name="connsiteY1" fmla="*/ 2973 h 9730"/>
                  <a:gd name="connsiteX2" fmla="*/ 10000 w 10000"/>
                  <a:gd name="connsiteY2" fmla="*/ 2703 h 9730"/>
                  <a:gd name="connsiteX3" fmla="*/ 10000 w 10000"/>
                  <a:gd name="connsiteY3" fmla="*/ 2433 h 9730"/>
                  <a:gd name="connsiteX4" fmla="*/ 9630 w 10000"/>
                  <a:gd name="connsiteY4" fmla="*/ 2162 h 9730"/>
                  <a:gd name="connsiteX5" fmla="*/ 8889 w 10000"/>
                  <a:gd name="connsiteY5" fmla="*/ 271 h 9730"/>
                  <a:gd name="connsiteX6" fmla="*/ 8148 w 10000"/>
                  <a:gd name="connsiteY6" fmla="*/ 0 h 9730"/>
                  <a:gd name="connsiteX7" fmla="*/ 7407 w 10000"/>
                  <a:gd name="connsiteY7" fmla="*/ 271 h 9730"/>
                  <a:gd name="connsiteX8" fmla="*/ 6667 w 10000"/>
                  <a:gd name="connsiteY8" fmla="*/ 271 h 9730"/>
                  <a:gd name="connsiteX9" fmla="*/ 1852 w 10000"/>
                  <a:gd name="connsiteY9" fmla="*/ 271 h 9730"/>
                  <a:gd name="connsiteX10" fmla="*/ 1852 w 10000"/>
                  <a:gd name="connsiteY10" fmla="*/ 1352 h 9730"/>
                  <a:gd name="connsiteX11" fmla="*/ 1111 w 10000"/>
                  <a:gd name="connsiteY11" fmla="*/ 1352 h 9730"/>
                  <a:gd name="connsiteX12" fmla="*/ 1111 w 10000"/>
                  <a:gd name="connsiteY12" fmla="*/ 1622 h 9730"/>
                  <a:gd name="connsiteX13" fmla="*/ 1111 w 10000"/>
                  <a:gd name="connsiteY13" fmla="*/ 3244 h 9730"/>
                  <a:gd name="connsiteX14" fmla="*/ 1111 w 10000"/>
                  <a:gd name="connsiteY14" fmla="*/ 3514 h 9730"/>
                  <a:gd name="connsiteX15" fmla="*/ 741 w 10000"/>
                  <a:gd name="connsiteY15" fmla="*/ 3514 h 9730"/>
                  <a:gd name="connsiteX16" fmla="*/ 0 w 10000"/>
                  <a:gd name="connsiteY16" fmla="*/ 4865 h 9730"/>
                  <a:gd name="connsiteX17" fmla="*/ 741 w 10000"/>
                  <a:gd name="connsiteY17" fmla="*/ 5676 h 9730"/>
                  <a:gd name="connsiteX18" fmla="*/ 370 w 10000"/>
                  <a:gd name="connsiteY18" fmla="*/ 5946 h 9730"/>
                  <a:gd name="connsiteX19" fmla="*/ 1111 w 10000"/>
                  <a:gd name="connsiteY19" fmla="*/ 6487 h 9730"/>
                  <a:gd name="connsiteX20" fmla="*/ 1111 w 10000"/>
                  <a:gd name="connsiteY20" fmla="*/ 7027 h 9730"/>
                  <a:gd name="connsiteX21" fmla="*/ 1852 w 10000"/>
                  <a:gd name="connsiteY21" fmla="*/ 7298 h 9730"/>
                  <a:gd name="connsiteX22" fmla="*/ 3704 w 10000"/>
                  <a:gd name="connsiteY22" fmla="*/ 8919 h 9730"/>
                  <a:gd name="connsiteX23" fmla="*/ 4074 w 10000"/>
                  <a:gd name="connsiteY23" fmla="*/ 9189 h 9730"/>
                  <a:gd name="connsiteX24" fmla="*/ 4815 w 10000"/>
                  <a:gd name="connsiteY24" fmla="*/ 9189 h 9730"/>
                  <a:gd name="connsiteX25" fmla="*/ 5556 w 10000"/>
                  <a:gd name="connsiteY25" fmla="*/ 9730 h 9730"/>
                  <a:gd name="connsiteX26" fmla="*/ 6296 w 10000"/>
                  <a:gd name="connsiteY26" fmla="*/ 9730 h 9730"/>
                  <a:gd name="connsiteX27" fmla="*/ 7407 w 10000"/>
                  <a:gd name="connsiteY27" fmla="*/ 9460 h 9730"/>
                  <a:gd name="connsiteX28" fmla="*/ 7778 w 10000"/>
                  <a:gd name="connsiteY28" fmla="*/ 9189 h 9730"/>
                  <a:gd name="connsiteX29" fmla="*/ 8519 w 10000"/>
                  <a:gd name="connsiteY29" fmla="*/ 9189 h 9730"/>
                  <a:gd name="connsiteX30" fmla="*/ 8519 w 10000"/>
                  <a:gd name="connsiteY30" fmla="*/ 8919 h 9730"/>
                  <a:gd name="connsiteX31" fmla="*/ 8148 w 10000"/>
                  <a:gd name="connsiteY31" fmla="*/ 8649 h 9730"/>
                  <a:gd name="connsiteX32" fmla="*/ 7407 w 10000"/>
                  <a:gd name="connsiteY32" fmla="*/ 7838 h 9730"/>
                  <a:gd name="connsiteX33" fmla="*/ 7037 w 10000"/>
                  <a:gd name="connsiteY33" fmla="*/ 7568 h 9730"/>
                  <a:gd name="connsiteX34" fmla="*/ 7037 w 10000"/>
                  <a:gd name="connsiteY34" fmla="*/ 7298 h 9730"/>
                  <a:gd name="connsiteX35" fmla="*/ 7407 w 10000"/>
                  <a:gd name="connsiteY35" fmla="*/ 7298 h 9730"/>
                  <a:gd name="connsiteX36" fmla="*/ 7778 w 10000"/>
                  <a:gd name="connsiteY36" fmla="*/ 6216 h 9730"/>
                  <a:gd name="connsiteX37" fmla="*/ 8889 w 10000"/>
                  <a:gd name="connsiteY37" fmla="*/ 4865 h 9730"/>
                  <a:gd name="connsiteX38" fmla="*/ 8889 w 10000"/>
                  <a:gd name="connsiteY38" fmla="*/ 4325 h 9730"/>
                  <a:gd name="connsiteX0" fmla="*/ 8889 w 10000"/>
                  <a:gd name="connsiteY0" fmla="*/ 4166 h 9721"/>
                  <a:gd name="connsiteX1" fmla="*/ 9259 w 10000"/>
                  <a:gd name="connsiteY1" fmla="*/ 2776 h 9721"/>
                  <a:gd name="connsiteX2" fmla="*/ 10000 w 10000"/>
                  <a:gd name="connsiteY2" fmla="*/ 2499 h 9721"/>
                  <a:gd name="connsiteX3" fmla="*/ 10000 w 10000"/>
                  <a:gd name="connsiteY3" fmla="*/ 2222 h 9721"/>
                  <a:gd name="connsiteX4" fmla="*/ 9630 w 10000"/>
                  <a:gd name="connsiteY4" fmla="*/ 1943 h 9721"/>
                  <a:gd name="connsiteX5" fmla="*/ 8889 w 10000"/>
                  <a:gd name="connsiteY5" fmla="*/ 0 h 9721"/>
                  <a:gd name="connsiteX6" fmla="*/ 7407 w 10000"/>
                  <a:gd name="connsiteY6" fmla="*/ 0 h 9721"/>
                  <a:gd name="connsiteX7" fmla="*/ 6667 w 10000"/>
                  <a:gd name="connsiteY7" fmla="*/ 0 h 9721"/>
                  <a:gd name="connsiteX8" fmla="*/ 1852 w 10000"/>
                  <a:gd name="connsiteY8" fmla="*/ 0 h 9721"/>
                  <a:gd name="connsiteX9" fmla="*/ 1852 w 10000"/>
                  <a:gd name="connsiteY9" fmla="*/ 1111 h 9721"/>
                  <a:gd name="connsiteX10" fmla="*/ 1111 w 10000"/>
                  <a:gd name="connsiteY10" fmla="*/ 1111 h 9721"/>
                  <a:gd name="connsiteX11" fmla="*/ 1111 w 10000"/>
                  <a:gd name="connsiteY11" fmla="*/ 1388 h 9721"/>
                  <a:gd name="connsiteX12" fmla="*/ 1111 w 10000"/>
                  <a:gd name="connsiteY12" fmla="*/ 3055 h 9721"/>
                  <a:gd name="connsiteX13" fmla="*/ 1111 w 10000"/>
                  <a:gd name="connsiteY13" fmla="*/ 3333 h 9721"/>
                  <a:gd name="connsiteX14" fmla="*/ 741 w 10000"/>
                  <a:gd name="connsiteY14" fmla="*/ 3333 h 9721"/>
                  <a:gd name="connsiteX15" fmla="*/ 0 w 10000"/>
                  <a:gd name="connsiteY15" fmla="*/ 4721 h 9721"/>
                  <a:gd name="connsiteX16" fmla="*/ 741 w 10000"/>
                  <a:gd name="connsiteY16" fmla="*/ 5555 h 9721"/>
                  <a:gd name="connsiteX17" fmla="*/ 370 w 10000"/>
                  <a:gd name="connsiteY17" fmla="*/ 5832 h 9721"/>
                  <a:gd name="connsiteX18" fmla="*/ 1111 w 10000"/>
                  <a:gd name="connsiteY18" fmla="*/ 6388 h 9721"/>
                  <a:gd name="connsiteX19" fmla="*/ 1111 w 10000"/>
                  <a:gd name="connsiteY19" fmla="*/ 6943 h 9721"/>
                  <a:gd name="connsiteX20" fmla="*/ 1852 w 10000"/>
                  <a:gd name="connsiteY20" fmla="*/ 7222 h 9721"/>
                  <a:gd name="connsiteX21" fmla="*/ 3704 w 10000"/>
                  <a:gd name="connsiteY21" fmla="*/ 8887 h 9721"/>
                  <a:gd name="connsiteX22" fmla="*/ 4074 w 10000"/>
                  <a:gd name="connsiteY22" fmla="*/ 9165 h 9721"/>
                  <a:gd name="connsiteX23" fmla="*/ 4815 w 10000"/>
                  <a:gd name="connsiteY23" fmla="*/ 9165 h 9721"/>
                  <a:gd name="connsiteX24" fmla="*/ 5556 w 10000"/>
                  <a:gd name="connsiteY24" fmla="*/ 9721 h 9721"/>
                  <a:gd name="connsiteX25" fmla="*/ 6296 w 10000"/>
                  <a:gd name="connsiteY25" fmla="*/ 9721 h 9721"/>
                  <a:gd name="connsiteX26" fmla="*/ 7407 w 10000"/>
                  <a:gd name="connsiteY26" fmla="*/ 9444 h 9721"/>
                  <a:gd name="connsiteX27" fmla="*/ 7778 w 10000"/>
                  <a:gd name="connsiteY27" fmla="*/ 9165 h 9721"/>
                  <a:gd name="connsiteX28" fmla="*/ 8519 w 10000"/>
                  <a:gd name="connsiteY28" fmla="*/ 9165 h 9721"/>
                  <a:gd name="connsiteX29" fmla="*/ 8519 w 10000"/>
                  <a:gd name="connsiteY29" fmla="*/ 8887 h 9721"/>
                  <a:gd name="connsiteX30" fmla="*/ 8148 w 10000"/>
                  <a:gd name="connsiteY30" fmla="*/ 8610 h 9721"/>
                  <a:gd name="connsiteX31" fmla="*/ 7407 w 10000"/>
                  <a:gd name="connsiteY31" fmla="*/ 7776 h 9721"/>
                  <a:gd name="connsiteX32" fmla="*/ 7037 w 10000"/>
                  <a:gd name="connsiteY32" fmla="*/ 7499 h 9721"/>
                  <a:gd name="connsiteX33" fmla="*/ 7037 w 10000"/>
                  <a:gd name="connsiteY33" fmla="*/ 7222 h 9721"/>
                  <a:gd name="connsiteX34" fmla="*/ 7407 w 10000"/>
                  <a:gd name="connsiteY34" fmla="*/ 7222 h 9721"/>
                  <a:gd name="connsiteX35" fmla="*/ 7778 w 10000"/>
                  <a:gd name="connsiteY35" fmla="*/ 6109 h 9721"/>
                  <a:gd name="connsiteX36" fmla="*/ 8889 w 10000"/>
                  <a:gd name="connsiteY36" fmla="*/ 4721 h 9721"/>
                  <a:gd name="connsiteX37" fmla="*/ 8889 w 10000"/>
                  <a:gd name="connsiteY37" fmla="*/ 4166 h 9721"/>
                  <a:gd name="connsiteX0" fmla="*/ 8889 w 10000"/>
                  <a:gd name="connsiteY0" fmla="*/ 4286 h 10000"/>
                  <a:gd name="connsiteX1" fmla="*/ 9259 w 10000"/>
                  <a:gd name="connsiteY1" fmla="*/ 2856 h 10000"/>
                  <a:gd name="connsiteX2" fmla="*/ 10000 w 10000"/>
                  <a:gd name="connsiteY2" fmla="*/ 2571 h 10000"/>
                  <a:gd name="connsiteX3" fmla="*/ 10000 w 10000"/>
                  <a:gd name="connsiteY3" fmla="*/ 2286 h 10000"/>
                  <a:gd name="connsiteX4" fmla="*/ 9630 w 10000"/>
                  <a:gd name="connsiteY4" fmla="*/ 1999 h 10000"/>
                  <a:gd name="connsiteX5" fmla="*/ 7407 w 10000"/>
                  <a:gd name="connsiteY5" fmla="*/ 0 h 10000"/>
                  <a:gd name="connsiteX6" fmla="*/ 6667 w 10000"/>
                  <a:gd name="connsiteY6" fmla="*/ 0 h 10000"/>
                  <a:gd name="connsiteX7" fmla="*/ 1852 w 10000"/>
                  <a:gd name="connsiteY7" fmla="*/ 0 h 10000"/>
                  <a:gd name="connsiteX8" fmla="*/ 1852 w 10000"/>
                  <a:gd name="connsiteY8" fmla="*/ 1143 h 10000"/>
                  <a:gd name="connsiteX9" fmla="*/ 1111 w 10000"/>
                  <a:gd name="connsiteY9" fmla="*/ 1143 h 10000"/>
                  <a:gd name="connsiteX10" fmla="*/ 1111 w 10000"/>
                  <a:gd name="connsiteY10" fmla="*/ 1428 h 10000"/>
                  <a:gd name="connsiteX11" fmla="*/ 1111 w 10000"/>
                  <a:gd name="connsiteY11" fmla="*/ 3143 h 10000"/>
                  <a:gd name="connsiteX12" fmla="*/ 1111 w 10000"/>
                  <a:gd name="connsiteY12" fmla="*/ 3429 h 10000"/>
                  <a:gd name="connsiteX13" fmla="*/ 741 w 10000"/>
                  <a:gd name="connsiteY13" fmla="*/ 3429 h 10000"/>
                  <a:gd name="connsiteX14" fmla="*/ 0 w 10000"/>
                  <a:gd name="connsiteY14" fmla="*/ 4856 h 10000"/>
                  <a:gd name="connsiteX15" fmla="*/ 741 w 10000"/>
                  <a:gd name="connsiteY15" fmla="*/ 5714 h 10000"/>
                  <a:gd name="connsiteX16" fmla="*/ 370 w 10000"/>
                  <a:gd name="connsiteY16" fmla="*/ 5999 h 10000"/>
                  <a:gd name="connsiteX17" fmla="*/ 1111 w 10000"/>
                  <a:gd name="connsiteY17" fmla="*/ 6571 h 10000"/>
                  <a:gd name="connsiteX18" fmla="*/ 1111 w 10000"/>
                  <a:gd name="connsiteY18" fmla="*/ 7142 h 10000"/>
                  <a:gd name="connsiteX19" fmla="*/ 1852 w 10000"/>
                  <a:gd name="connsiteY19" fmla="*/ 7429 h 10000"/>
                  <a:gd name="connsiteX20" fmla="*/ 3704 w 10000"/>
                  <a:gd name="connsiteY20" fmla="*/ 9142 h 10000"/>
                  <a:gd name="connsiteX21" fmla="*/ 4074 w 10000"/>
                  <a:gd name="connsiteY21" fmla="*/ 9428 h 10000"/>
                  <a:gd name="connsiteX22" fmla="*/ 4815 w 10000"/>
                  <a:gd name="connsiteY22" fmla="*/ 9428 h 10000"/>
                  <a:gd name="connsiteX23" fmla="*/ 5556 w 10000"/>
                  <a:gd name="connsiteY23" fmla="*/ 10000 h 10000"/>
                  <a:gd name="connsiteX24" fmla="*/ 6296 w 10000"/>
                  <a:gd name="connsiteY24" fmla="*/ 10000 h 10000"/>
                  <a:gd name="connsiteX25" fmla="*/ 7407 w 10000"/>
                  <a:gd name="connsiteY25" fmla="*/ 9715 h 10000"/>
                  <a:gd name="connsiteX26" fmla="*/ 7778 w 10000"/>
                  <a:gd name="connsiteY26" fmla="*/ 9428 h 10000"/>
                  <a:gd name="connsiteX27" fmla="*/ 8519 w 10000"/>
                  <a:gd name="connsiteY27" fmla="*/ 9428 h 10000"/>
                  <a:gd name="connsiteX28" fmla="*/ 8519 w 10000"/>
                  <a:gd name="connsiteY28" fmla="*/ 9142 h 10000"/>
                  <a:gd name="connsiteX29" fmla="*/ 8148 w 10000"/>
                  <a:gd name="connsiteY29" fmla="*/ 8857 h 10000"/>
                  <a:gd name="connsiteX30" fmla="*/ 7407 w 10000"/>
                  <a:gd name="connsiteY30" fmla="*/ 7999 h 10000"/>
                  <a:gd name="connsiteX31" fmla="*/ 7037 w 10000"/>
                  <a:gd name="connsiteY31" fmla="*/ 7714 h 10000"/>
                  <a:gd name="connsiteX32" fmla="*/ 7037 w 10000"/>
                  <a:gd name="connsiteY32" fmla="*/ 7429 h 10000"/>
                  <a:gd name="connsiteX33" fmla="*/ 7407 w 10000"/>
                  <a:gd name="connsiteY33" fmla="*/ 7429 h 10000"/>
                  <a:gd name="connsiteX34" fmla="*/ 7778 w 10000"/>
                  <a:gd name="connsiteY34" fmla="*/ 6284 h 10000"/>
                  <a:gd name="connsiteX35" fmla="*/ 8889 w 10000"/>
                  <a:gd name="connsiteY35" fmla="*/ 4856 h 10000"/>
                  <a:gd name="connsiteX36" fmla="*/ 8889 w 10000"/>
                  <a:gd name="connsiteY36" fmla="*/ 4286 h 10000"/>
                  <a:gd name="connsiteX0" fmla="*/ 8889 w 10000"/>
                  <a:gd name="connsiteY0" fmla="*/ 4286 h 10000"/>
                  <a:gd name="connsiteX1" fmla="*/ 9259 w 10000"/>
                  <a:gd name="connsiteY1" fmla="*/ 2856 h 10000"/>
                  <a:gd name="connsiteX2" fmla="*/ 10000 w 10000"/>
                  <a:gd name="connsiteY2" fmla="*/ 2571 h 10000"/>
                  <a:gd name="connsiteX3" fmla="*/ 10000 w 10000"/>
                  <a:gd name="connsiteY3" fmla="*/ 2286 h 10000"/>
                  <a:gd name="connsiteX4" fmla="*/ 7407 w 10000"/>
                  <a:gd name="connsiteY4" fmla="*/ 0 h 10000"/>
                  <a:gd name="connsiteX5" fmla="*/ 6667 w 10000"/>
                  <a:gd name="connsiteY5" fmla="*/ 0 h 10000"/>
                  <a:gd name="connsiteX6" fmla="*/ 1852 w 10000"/>
                  <a:gd name="connsiteY6" fmla="*/ 0 h 10000"/>
                  <a:gd name="connsiteX7" fmla="*/ 1852 w 10000"/>
                  <a:gd name="connsiteY7" fmla="*/ 1143 h 10000"/>
                  <a:gd name="connsiteX8" fmla="*/ 1111 w 10000"/>
                  <a:gd name="connsiteY8" fmla="*/ 1143 h 10000"/>
                  <a:gd name="connsiteX9" fmla="*/ 1111 w 10000"/>
                  <a:gd name="connsiteY9" fmla="*/ 1428 h 10000"/>
                  <a:gd name="connsiteX10" fmla="*/ 1111 w 10000"/>
                  <a:gd name="connsiteY10" fmla="*/ 3143 h 10000"/>
                  <a:gd name="connsiteX11" fmla="*/ 1111 w 10000"/>
                  <a:gd name="connsiteY11" fmla="*/ 3429 h 10000"/>
                  <a:gd name="connsiteX12" fmla="*/ 741 w 10000"/>
                  <a:gd name="connsiteY12" fmla="*/ 3429 h 10000"/>
                  <a:gd name="connsiteX13" fmla="*/ 0 w 10000"/>
                  <a:gd name="connsiteY13" fmla="*/ 4856 h 10000"/>
                  <a:gd name="connsiteX14" fmla="*/ 741 w 10000"/>
                  <a:gd name="connsiteY14" fmla="*/ 5714 h 10000"/>
                  <a:gd name="connsiteX15" fmla="*/ 370 w 10000"/>
                  <a:gd name="connsiteY15" fmla="*/ 5999 h 10000"/>
                  <a:gd name="connsiteX16" fmla="*/ 1111 w 10000"/>
                  <a:gd name="connsiteY16" fmla="*/ 6571 h 10000"/>
                  <a:gd name="connsiteX17" fmla="*/ 1111 w 10000"/>
                  <a:gd name="connsiteY17" fmla="*/ 7142 h 10000"/>
                  <a:gd name="connsiteX18" fmla="*/ 1852 w 10000"/>
                  <a:gd name="connsiteY18" fmla="*/ 7429 h 10000"/>
                  <a:gd name="connsiteX19" fmla="*/ 3704 w 10000"/>
                  <a:gd name="connsiteY19" fmla="*/ 9142 h 10000"/>
                  <a:gd name="connsiteX20" fmla="*/ 4074 w 10000"/>
                  <a:gd name="connsiteY20" fmla="*/ 9428 h 10000"/>
                  <a:gd name="connsiteX21" fmla="*/ 4815 w 10000"/>
                  <a:gd name="connsiteY21" fmla="*/ 9428 h 10000"/>
                  <a:gd name="connsiteX22" fmla="*/ 5556 w 10000"/>
                  <a:gd name="connsiteY22" fmla="*/ 10000 h 10000"/>
                  <a:gd name="connsiteX23" fmla="*/ 6296 w 10000"/>
                  <a:gd name="connsiteY23" fmla="*/ 10000 h 10000"/>
                  <a:gd name="connsiteX24" fmla="*/ 7407 w 10000"/>
                  <a:gd name="connsiteY24" fmla="*/ 9715 h 10000"/>
                  <a:gd name="connsiteX25" fmla="*/ 7778 w 10000"/>
                  <a:gd name="connsiteY25" fmla="*/ 9428 h 10000"/>
                  <a:gd name="connsiteX26" fmla="*/ 8519 w 10000"/>
                  <a:gd name="connsiteY26" fmla="*/ 9428 h 10000"/>
                  <a:gd name="connsiteX27" fmla="*/ 8519 w 10000"/>
                  <a:gd name="connsiteY27" fmla="*/ 9142 h 10000"/>
                  <a:gd name="connsiteX28" fmla="*/ 8148 w 10000"/>
                  <a:gd name="connsiteY28" fmla="*/ 8857 h 10000"/>
                  <a:gd name="connsiteX29" fmla="*/ 7407 w 10000"/>
                  <a:gd name="connsiteY29" fmla="*/ 7999 h 10000"/>
                  <a:gd name="connsiteX30" fmla="*/ 7037 w 10000"/>
                  <a:gd name="connsiteY30" fmla="*/ 7714 h 10000"/>
                  <a:gd name="connsiteX31" fmla="*/ 7037 w 10000"/>
                  <a:gd name="connsiteY31" fmla="*/ 7429 h 10000"/>
                  <a:gd name="connsiteX32" fmla="*/ 7407 w 10000"/>
                  <a:gd name="connsiteY32" fmla="*/ 7429 h 10000"/>
                  <a:gd name="connsiteX33" fmla="*/ 7778 w 10000"/>
                  <a:gd name="connsiteY33" fmla="*/ 6284 h 10000"/>
                  <a:gd name="connsiteX34" fmla="*/ 8889 w 10000"/>
                  <a:gd name="connsiteY34" fmla="*/ 4856 h 10000"/>
                  <a:gd name="connsiteX35" fmla="*/ 8889 w 10000"/>
                  <a:gd name="connsiteY35" fmla="*/ 4286 h 10000"/>
                  <a:gd name="connsiteX0" fmla="*/ 8889 w 10000"/>
                  <a:gd name="connsiteY0" fmla="*/ 4286 h 10000"/>
                  <a:gd name="connsiteX1" fmla="*/ 9259 w 10000"/>
                  <a:gd name="connsiteY1" fmla="*/ 2856 h 10000"/>
                  <a:gd name="connsiteX2" fmla="*/ 10000 w 10000"/>
                  <a:gd name="connsiteY2" fmla="*/ 2571 h 10000"/>
                  <a:gd name="connsiteX3" fmla="*/ 7407 w 10000"/>
                  <a:gd name="connsiteY3" fmla="*/ 0 h 10000"/>
                  <a:gd name="connsiteX4" fmla="*/ 6667 w 10000"/>
                  <a:gd name="connsiteY4" fmla="*/ 0 h 10000"/>
                  <a:gd name="connsiteX5" fmla="*/ 1852 w 10000"/>
                  <a:gd name="connsiteY5" fmla="*/ 0 h 10000"/>
                  <a:gd name="connsiteX6" fmla="*/ 1852 w 10000"/>
                  <a:gd name="connsiteY6" fmla="*/ 1143 h 10000"/>
                  <a:gd name="connsiteX7" fmla="*/ 1111 w 10000"/>
                  <a:gd name="connsiteY7" fmla="*/ 1143 h 10000"/>
                  <a:gd name="connsiteX8" fmla="*/ 1111 w 10000"/>
                  <a:gd name="connsiteY8" fmla="*/ 1428 h 10000"/>
                  <a:gd name="connsiteX9" fmla="*/ 1111 w 10000"/>
                  <a:gd name="connsiteY9" fmla="*/ 3143 h 10000"/>
                  <a:gd name="connsiteX10" fmla="*/ 1111 w 10000"/>
                  <a:gd name="connsiteY10" fmla="*/ 3429 h 10000"/>
                  <a:gd name="connsiteX11" fmla="*/ 741 w 10000"/>
                  <a:gd name="connsiteY11" fmla="*/ 3429 h 10000"/>
                  <a:gd name="connsiteX12" fmla="*/ 0 w 10000"/>
                  <a:gd name="connsiteY12" fmla="*/ 4856 h 10000"/>
                  <a:gd name="connsiteX13" fmla="*/ 741 w 10000"/>
                  <a:gd name="connsiteY13" fmla="*/ 5714 h 10000"/>
                  <a:gd name="connsiteX14" fmla="*/ 370 w 10000"/>
                  <a:gd name="connsiteY14" fmla="*/ 5999 h 10000"/>
                  <a:gd name="connsiteX15" fmla="*/ 1111 w 10000"/>
                  <a:gd name="connsiteY15" fmla="*/ 6571 h 10000"/>
                  <a:gd name="connsiteX16" fmla="*/ 1111 w 10000"/>
                  <a:gd name="connsiteY16" fmla="*/ 7142 h 10000"/>
                  <a:gd name="connsiteX17" fmla="*/ 1852 w 10000"/>
                  <a:gd name="connsiteY17" fmla="*/ 7429 h 10000"/>
                  <a:gd name="connsiteX18" fmla="*/ 3704 w 10000"/>
                  <a:gd name="connsiteY18" fmla="*/ 9142 h 10000"/>
                  <a:gd name="connsiteX19" fmla="*/ 4074 w 10000"/>
                  <a:gd name="connsiteY19" fmla="*/ 9428 h 10000"/>
                  <a:gd name="connsiteX20" fmla="*/ 4815 w 10000"/>
                  <a:gd name="connsiteY20" fmla="*/ 9428 h 10000"/>
                  <a:gd name="connsiteX21" fmla="*/ 5556 w 10000"/>
                  <a:gd name="connsiteY21" fmla="*/ 10000 h 10000"/>
                  <a:gd name="connsiteX22" fmla="*/ 6296 w 10000"/>
                  <a:gd name="connsiteY22" fmla="*/ 10000 h 10000"/>
                  <a:gd name="connsiteX23" fmla="*/ 7407 w 10000"/>
                  <a:gd name="connsiteY23" fmla="*/ 9715 h 10000"/>
                  <a:gd name="connsiteX24" fmla="*/ 7778 w 10000"/>
                  <a:gd name="connsiteY24" fmla="*/ 9428 h 10000"/>
                  <a:gd name="connsiteX25" fmla="*/ 8519 w 10000"/>
                  <a:gd name="connsiteY25" fmla="*/ 9428 h 10000"/>
                  <a:gd name="connsiteX26" fmla="*/ 8519 w 10000"/>
                  <a:gd name="connsiteY26" fmla="*/ 9142 h 10000"/>
                  <a:gd name="connsiteX27" fmla="*/ 8148 w 10000"/>
                  <a:gd name="connsiteY27" fmla="*/ 8857 h 10000"/>
                  <a:gd name="connsiteX28" fmla="*/ 7407 w 10000"/>
                  <a:gd name="connsiteY28" fmla="*/ 7999 h 10000"/>
                  <a:gd name="connsiteX29" fmla="*/ 7037 w 10000"/>
                  <a:gd name="connsiteY29" fmla="*/ 7714 h 10000"/>
                  <a:gd name="connsiteX30" fmla="*/ 7037 w 10000"/>
                  <a:gd name="connsiteY30" fmla="*/ 7429 h 10000"/>
                  <a:gd name="connsiteX31" fmla="*/ 7407 w 10000"/>
                  <a:gd name="connsiteY31" fmla="*/ 7429 h 10000"/>
                  <a:gd name="connsiteX32" fmla="*/ 7778 w 10000"/>
                  <a:gd name="connsiteY32" fmla="*/ 6284 h 10000"/>
                  <a:gd name="connsiteX33" fmla="*/ 8889 w 10000"/>
                  <a:gd name="connsiteY33" fmla="*/ 4856 h 10000"/>
                  <a:gd name="connsiteX34" fmla="*/ 8889 w 10000"/>
                  <a:gd name="connsiteY34" fmla="*/ 4286 h 10000"/>
                  <a:gd name="connsiteX0" fmla="*/ 8889 w 9259"/>
                  <a:gd name="connsiteY0" fmla="*/ 4286 h 10000"/>
                  <a:gd name="connsiteX1" fmla="*/ 9259 w 9259"/>
                  <a:gd name="connsiteY1" fmla="*/ 2856 h 10000"/>
                  <a:gd name="connsiteX2" fmla="*/ 7407 w 9259"/>
                  <a:gd name="connsiteY2" fmla="*/ 0 h 10000"/>
                  <a:gd name="connsiteX3" fmla="*/ 6667 w 9259"/>
                  <a:gd name="connsiteY3" fmla="*/ 0 h 10000"/>
                  <a:gd name="connsiteX4" fmla="*/ 1852 w 9259"/>
                  <a:gd name="connsiteY4" fmla="*/ 0 h 10000"/>
                  <a:gd name="connsiteX5" fmla="*/ 1852 w 9259"/>
                  <a:gd name="connsiteY5" fmla="*/ 1143 h 10000"/>
                  <a:gd name="connsiteX6" fmla="*/ 1111 w 9259"/>
                  <a:gd name="connsiteY6" fmla="*/ 1143 h 10000"/>
                  <a:gd name="connsiteX7" fmla="*/ 1111 w 9259"/>
                  <a:gd name="connsiteY7" fmla="*/ 1428 h 10000"/>
                  <a:gd name="connsiteX8" fmla="*/ 1111 w 9259"/>
                  <a:gd name="connsiteY8" fmla="*/ 3143 h 10000"/>
                  <a:gd name="connsiteX9" fmla="*/ 1111 w 9259"/>
                  <a:gd name="connsiteY9" fmla="*/ 3429 h 10000"/>
                  <a:gd name="connsiteX10" fmla="*/ 741 w 9259"/>
                  <a:gd name="connsiteY10" fmla="*/ 3429 h 10000"/>
                  <a:gd name="connsiteX11" fmla="*/ 0 w 9259"/>
                  <a:gd name="connsiteY11" fmla="*/ 4856 h 10000"/>
                  <a:gd name="connsiteX12" fmla="*/ 741 w 9259"/>
                  <a:gd name="connsiteY12" fmla="*/ 5714 h 10000"/>
                  <a:gd name="connsiteX13" fmla="*/ 370 w 9259"/>
                  <a:gd name="connsiteY13" fmla="*/ 5999 h 10000"/>
                  <a:gd name="connsiteX14" fmla="*/ 1111 w 9259"/>
                  <a:gd name="connsiteY14" fmla="*/ 6571 h 10000"/>
                  <a:gd name="connsiteX15" fmla="*/ 1111 w 9259"/>
                  <a:gd name="connsiteY15" fmla="*/ 7142 h 10000"/>
                  <a:gd name="connsiteX16" fmla="*/ 1852 w 9259"/>
                  <a:gd name="connsiteY16" fmla="*/ 7429 h 10000"/>
                  <a:gd name="connsiteX17" fmla="*/ 3704 w 9259"/>
                  <a:gd name="connsiteY17" fmla="*/ 9142 h 10000"/>
                  <a:gd name="connsiteX18" fmla="*/ 4074 w 9259"/>
                  <a:gd name="connsiteY18" fmla="*/ 9428 h 10000"/>
                  <a:gd name="connsiteX19" fmla="*/ 4815 w 9259"/>
                  <a:gd name="connsiteY19" fmla="*/ 9428 h 10000"/>
                  <a:gd name="connsiteX20" fmla="*/ 5556 w 9259"/>
                  <a:gd name="connsiteY20" fmla="*/ 10000 h 10000"/>
                  <a:gd name="connsiteX21" fmla="*/ 6296 w 9259"/>
                  <a:gd name="connsiteY21" fmla="*/ 10000 h 10000"/>
                  <a:gd name="connsiteX22" fmla="*/ 7407 w 9259"/>
                  <a:gd name="connsiteY22" fmla="*/ 9715 h 10000"/>
                  <a:gd name="connsiteX23" fmla="*/ 7778 w 9259"/>
                  <a:gd name="connsiteY23" fmla="*/ 9428 h 10000"/>
                  <a:gd name="connsiteX24" fmla="*/ 8519 w 9259"/>
                  <a:gd name="connsiteY24" fmla="*/ 9428 h 10000"/>
                  <a:gd name="connsiteX25" fmla="*/ 8519 w 9259"/>
                  <a:gd name="connsiteY25" fmla="*/ 9142 h 10000"/>
                  <a:gd name="connsiteX26" fmla="*/ 8148 w 9259"/>
                  <a:gd name="connsiteY26" fmla="*/ 8857 h 10000"/>
                  <a:gd name="connsiteX27" fmla="*/ 7407 w 9259"/>
                  <a:gd name="connsiteY27" fmla="*/ 7999 h 10000"/>
                  <a:gd name="connsiteX28" fmla="*/ 7037 w 9259"/>
                  <a:gd name="connsiteY28" fmla="*/ 7714 h 10000"/>
                  <a:gd name="connsiteX29" fmla="*/ 7037 w 9259"/>
                  <a:gd name="connsiteY29" fmla="*/ 7429 h 10000"/>
                  <a:gd name="connsiteX30" fmla="*/ 7407 w 9259"/>
                  <a:gd name="connsiteY30" fmla="*/ 7429 h 10000"/>
                  <a:gd name="connsiteX31" fmla="*/ 7778 w 9259"/>
                  <a:gd name="connsiteY31" fmla="*/ 6284 h 10000"/>
                  <a:gd name="connsiteX32" fmla="*/ 8889 w 9259"/>
                  <a:gd name="connsiteY32" fmla="*/ 4856 h 10000"/>
                  <a:gd name="connsiteX33" fmla="*/ 8889 w 9259"/>
                  <a:gd name="connsiteY33" fmla="*/ 4286 h 10000"/>
                  <a:gd name="connsiteX0" fmla="*/ 9600 w 10000"/>
                  <a:gd name="connsiteY0" fmla="*/ 4286 h 10000"/>
                  <a:gd name="connsiteX1" fmla="*/ 10000 w 10000"/>
                  <a:gd name="connsiteY1" fmla="*/ 2856 h 10000"/>
                  <a:gd name="connsiteX2" fmla="*/ 7201 w 10000"/>
                  <a:gd name="connsiteY2" fmla="*/ 0 h 10000"/>
                  <a:gd name="connsiteX3" fmla="*/ 2000 w 10000"/>
                  <a:gd name="connsiteY3" fmla="*/ 0 h 10000"/>
                  <a:gd name="connsiteX4" fmla="*/ 2000 w 10000"/>
                  <a:gd name="connsiteY4" fmla="*/ 1143 h 10000"/>
                  <a:gd name="connsiteX5" fmla="*/ 1200 w 10000"/>
                  <a:gd name="connsiteY5" fmla="*/ 1143 h 10000"/>
                  <a:gd name="connsiteX6" fmla="*/ 1200 w 10000"/>
                  <a:gd name="connsiteY6" fmla="*/ 1428 h 10000"/>
                  <a:gd name="connsiteX7" fmla="*/ 1200 w 10000"/>
                  <a:gd name="connsiteY7" fmla="*/ 3143 h 10000"/>
                  <a:gd name="connsiteX8" fmla="*/ 1200 w 10000"/>
                  <a:gd name="connsiteY8" fmla="*/ 3429 h 10000"/>
                  <a:gd name="connsiteX9" fmla="*/ 800 w 10000"/>
                  <a:gd name="connsiteY9" fmla="*/ 3429 h 10000"/>
                  <a:gd name="connsiteX10" fmla="*/ 0 w 10000"/>
                  <a:gd name="connsiteY10" fmla="*/ 4856 h 10000"/>
                  <a:gd name="connsiteX11" fmla="*/ 800 w 10000"/>
                  <a:gd name="connsiteY11" fmla="*/ 5714 h 10000"/>
                  <a:gd name="connsiteX12" fmla="*/ 400 w 10000"/>
                  <a:gd name="connsiteY12" fmla="*/ 5999 h 10000"/>
                  <a:gd name="connsiteX13" fmla="*/ 1200 w 10000"/>
                  <a:gd name="connsiteY13" fmla="*/ 6571 h 10000"/>
                  <a:gd name="connsiteX14" fmla="*/ 1200 w 10000"/>
                  <a:gd name="connsiteY14" fmla="*/ 7142 h 10000"/>
                  <a:gd name="connsiteX15" fmla="*/ 2000 w 10000"/>
                  <a:gd name="connsiteY15" fmla="*/ 7429 h 10000"/>
                  <a:gd name="connsiteX16" fmla="*/ 4000 w 10000"/>
                  <a:gd name="connsiteY16" fmla="*/ 9142 h 10000"/>
                  <a:gd name="connsiteX17" fmla="*/ 4400 w 10000"/>
                  <a:gd name="connsiteY17" fmla="*/ 9428 h 10000"/>
                  <a:gd name="connsiteX18" fmla="*/ 5200 w 10000"/>
                  <a:gd name="connsiteY18" fmla="*/ 9428 h 10000"/>
                  <a:gd name="connsiteX19" fmla="*/ 6001 w 10000"/>
                  <a:gd name="connsiteY19" fmla="*/ 10000 h 10000"/>
                  <a:gd name="connsiteX20" fmla="*/ 6800 w 10000"/>
                  <a:gd name="connsiteY20" fmla="*/ 10000 h 10000"/>
                  <a:gd name="connsiteX21" fmla="*/ 8000 w 10000"/>
                  <a:gd name="connsiteY21" fmla="*/ 9715 h 10000"/>
                  <a:gd name="connsiteX22" fmla="*/ 8400 w 10000"/>
                  <a:gd name="connsiteY22" fmla="*/ 9428 h 10000"/>
                  <a:gd name="connsiteX23" fmla="*/ 9201 w 10000"/>
                  <a:gd name="connsiteY23" fmla="*/ 9428 h 10000"/>
                  <a:gd name="connsiteX24" fmla="*/ 9201 w 10000"/>
                  <a:gd name="connsiteY24" fmla="*/ 9142 h 10000"/>
                  <a:gd name="connsiteX25" fmla="*/ 8800 w 10000"/>
                  <a:gd name="connsiteY25" fmla="*/ 8857 h 10000"/>
                  <a:gd name="connsiteX26" fmla="*/ 8000 w 10000"/>
                  <a:gd name="connsiteY26" fmla="*/ 7999 h 10000"/>
                  <a:gd name="connsiteX27" fmla="*/ 7600 w 10000"/>
                  <a:gd name="connsiteY27" fmla="*/ 7714 h 10000"/>
                  <a:gd name="connsiteX28" fmla="*/ 7600 w 10000"/>
                  <a:gd name="connsiteY28" fmla="*/ 7429 h 10000"/>
                  <a:gd name="connsiteX29" fmla="*/ 8000 w 10000"/>
                  <a:gd name="connsiteY29" fmla="*/ 7429 h 10000"/>
                  <a:gd name="connsiteX30" fmla="*/ 8400 w 10000"/>
                  <a:gd name="connsiteY30" fmla="*/ 6284 h 10000"/>
                  <a:gd name="connsiteX31" fmla="*/ 9600 w 10000"/>
                  <a:gd name="connsiteY31" fmla="*/ 4856 h 10000"/>
                  <a:gd name="connsiteX32" fmla="*/ 9600 w 10000"/>
                  <a:gd name="connsiteY32" fmla="*/ 4286 h 10000"/>
                  <a:gd name="connsiteX0" fmla="*/ 9600 w 10000"/>
                  <a:gd name="connsiteY0" fmla="*/ 4286 h 10000"/>
                  <a:gd name="connsiteX1" fmla="*/ 10000 w 10000"/>
                  <a:gd name="connsiteY1" fmla="*/ 2856 h 10000"/>
                  <a:gd name="connsiteX2" fmla="*/ 2000 w 10000"/>
                  <a:gd name="connsiteY2" fmla="*/ 0 h 10000"/>
                  <a:gd name="connsiteX3" fmla="*/ 2000 w 10000"/>
                  <a:gd name="connsiteY3" fmla="*/ 1143 h 10000"/>
                  <a:gd name="connsiteX4" fmla="*/ 1200 w 10000"/>
                  <a:gd name="connsiteY4" fmla="*/ 1143 h 10000"/>
                  <a:gd name="connsiteX5" fmla="*/ 1200 w 10000"/>
                  <a:gd name="connsiteY5" fmla="*/ 1428 h 10000"/>
                  <a:gd name="connsiteX6" fmla="*/ 1200 w 10000"/>
                  <a:gd name="connsiteY6" fmla="*/ 3143 h 10000"/>
                  <a:gd name="connsiteX7" fmla="*/ 1200 w 10000"/>
                  <a:gd name="connsiteY7" fmla="*/ 3429 h 10000"/>
                  <a:gd name="connsiteX8" fmla="*/ 800 w 10000"/>
                  <a:gd name="connsiteY8" fmla="*/ 3429 h 10000"/>
                  <a:gd name="connsiteX9" fmla="*/ 0 w 10000"/>
                  <a:gd name="connsiteY9" fmla="*/ 4856 h 10000"/>
                  <a:gd name="connsiteX10" fmla="*/ 800 w 10000"/>
                  <a:gd name="connsiteY10" fmla="*/ 5714 h 10000"/>
                  <a:gd name="connsiteX11" fmla="*/ 400 w 10000"/>
                  <a:gd name="connsiteY11" fmla="*/ 5999 h 10000"/>
                  <a:gd name="connsiteX12" fmla="*/ 1200 w 10000"/>
                  <a:gd name="connsiteY12" fmla="*/ 6571 h 10000"/>
                  <a:gd name="connsiteX13" fmla="*/ 1200 w 10000"/>
                  <a:gd name="connsiteY13" fmla="*/ 7142 h 10000"/>
                  <a:gd name="connsiteX14" fmla="*/ 2000 w 10000"/>
                  <a:gd name="connsiteY14" fmla="*/ 7429 h 10000"/>
                  <a:gd name="connsiteX15" fmla="*/ 4000 w 10000"/>
                  <a:gd name="connsiteY15" fmla="*/ 9142 h 10000"/>
                  <a:gd name="connsiteX16" fmla="*/ 4400 w 10000"/>
                  <a:gd name="connsiteY16" fmla="*/ 9428 h 10000"/>
                  <a:gd name="connsiteX17" fmla="*/ 5200 w 10000"/>
                  <a:gd name="connsiteY17" fmla="*/ 9428 h 10000"/>
                  <a:gd name="connsiteX18" fmla="*/ 6001 w 10000"/>
                  <a:gd name="connsiteY18" fmla="*/ 10000 h 10000"/>
                  <a:gd name="connsiteX19" fmla="*/ 6800 w 10000"/>
                  <a:gd name="connsiteY19" fmla="*/ 10000 h 10000"/>
                  <a:gd name="connsiteX20" fmla="*/ 8000 w 10000"/>
                  <a:gd name="connsiteY20" fmla="*/ 9715 h 10000"/>
                  <a:gd name="connsiteX21" fmla="*/ 8400 w 10000"/>
                  <a:gd name="connsiteY21" fmla="*/ 9428 h 10000"/>
                  <a:gd name="connsiteX22" fmla="*/ 9201 w 10000"/>
                  <a:gd name="connsiteY22" fmla="*/ 9428 h 10000"/>
                  <a:gd name="connsiteX23" fmla="*/ 9201 w 10000"/>
                  <a:gd name="connsiteY23" fmla="*/ 9142 h 10000"/>
                  <a:gd name="connsiteX24" fmla="*/ 8800 w 10000"/>
                  <a:gd name="connsiteY24" fmla="*/ 8857 h 10000"/>
                  <a:gd name="connsiteX25" fmla="*/ 8000 w 10000"/>
                  <a:gd name="connsiteY25" fmla="*/ 7999 h 10000"/>
                  <a:gd name="connsiteX26" fmla="*/ 7600 w 10000"/>
                  <a:gd name="connsiteY26" fmla="*/ 7714 h 10000"/>
                  <a:gd name="connsiteX27" fmla="*/ 7600 w 10000"/>
                  <a:gd name="connsiteY27" fmla="*/ 7429 h 10000"/>
                  <a:gd name="connsiteX28" fmla="*/ 8000 w 10000"/>
                  <a:gd name="connsiteY28" fmla="*/ 7429 h 10000"/>
                  <a:gd name="connsiteX29" fmla="*/ 8400 w 10000"/>
                  <a:gd name="connsiteY29" fmla="*/ 6284 h 10000"/>
                  <a:gd name="connsiteX30" fmla="*/ 9600 w 10000"/>
                  <a:gd name="connsiteY30" fmla="*/ 4856 h 10000"/>
                  <a:gd name="connsiteX31" fmla="*/ 9600 w 10000"/>
                  <a:gd name="connsiteY31" fmla="*/ 4286 h 10000"/>
                  <a:gd name="connsiteX0" fmla="*/ 9600 w 10000"/>
                  <a:gd name="connsiteY0" fmla="*/ 3143 h 8857"/>
                  <a:gd name="connsiteX1" fmla="*/ 10000 w 10000"/>
                  <a:gd name="connsiteY1" fmla="*/ 1713 h 8857"/>
                  <a:gd name="connsiteX2" fmla="*/ 2000 w 10000"/>
                  <a:gd name="connsiteY2" fmla="*/ 0 h 8857"/>
                  <a:gd name="connsiteX3" fmla="*/ 1200 w 10000"/>
                  <a:gd name="connsiteY3" fmla="*/ 0 h 8857"/>
                  <a:gd name="connsiteX4" fmla="*/ 1200 w 10000"/>
                  <a:gd name="connsiteY4" fmla="*/ 285 h 8857"/>
                  <a:gd name="connsiteX5" fmla="*/ 1200 w 10000"/>
                  <a:gd name="connsiteY5" fmla="*/ 2000 h 8857"/>
                  <a:gd name="connsiteX6" fmla="*/ 1200 w 10000"/>
                  <a:gd name="connsiteY6" fmla="*/ 2286 h 8857"/>
                  <a:gd name="connsiteX7" fmla="*/ 800 w 10000"/>
                  <a:gd name="connsiteY7" fmla="*/ 2286 h 8857"/>
                  <a:gd name="connsiteX8" fmla="*/ 0 w 10000"/>
                  <a:gd name="connsiteY8" fmla="*/ 3713 h 8857"/>
                  <a:gd name="connsiteX9" fmla="*/ 800 w 10000"/>
                  <a:gd name="connsiteY9" fmla="*/ 4571 h 8857"/>
                  <a:gd name="connsiteX10" fmla="*/ 400 w 10000"/>
                  <a:gd name="connsiteY10" fmla="*/ 4856 h 8857"/>
                  <a:gd name="connsiteX11" fmla="*/ 1200 w 10000"/>
                  <a:gd name="connsiteY11" fmla="*/ 5428 h 8857"/>
                  <a:gd name="connsiteX12" fmla="*/ 1200 w 10000"/>
                  <a:gd name="connsiteY12" fmla="*/ 5999 h 8857"/>
                  <a:gd name="connsiteX13" fmla="*/ 2000 w 10000"/>
                  <a:gd name="connsiteY13" fmla="*/ 6286 h 8857"/>
                  <a:gd name="connsiteX14" fmla="*/ 4000 w 10000"/>
                  <a:gd name="connsiteY14" fmla="*/ 7999 h 8857"/>
                  <a:gd name="connsiteX15" fmla="*/ 4400 w 10000"/>
                  <a:gd name="connsiteY15" fmla="*/ 8285 h 8857"/>
                  <a:gd name="connsiteX16" fmla="*/ 5200 w 10000"/>
                  <a:gd name="connsiteY16" fmla="*/ 8285 h 8857"/>
                  <a:gd name="connsiteX17" fmla="*/ 6001 w 10000"/>
                  <a:gd name="connsiteY17" fmla="*/ 8857 h 8857"/>
                  <a:gd name="connsiteX18" fmla="*/ 6800 w 10000"/>
                  <a:gd name="connsiteY18" fmla="*/ 8857 h 8857"/>
                  <a:gd name="connsiteX19" fmla="*/ 8000 w 10000"/>
                  <a:gd name="connsiteY19" fmla="*/ 8572 h 8857"/>
                  <a:gd name="connsiteX20" fmla="*/ 8400 w 10000"/>
                  <a:gd name="connsiteY20" fmla="*/ 8285 h 8857"/>
                  <a:gd name="connsiteX21" fmla="*/ 9201 w 10000"/>
                  <a:gd name="connsiteY21" fmla="*/ 8285 h 8857"/>
                  <a:gd name="connsiteX22" fmla="*/ 9201 w 10000"/>
                  <a:gd name="connsiteY22" fmla="*/ 7999 h 8857"/>
                  <a:gd name="connsiteX23" fmla="*/ 8800 w 10000"/>
                  <a:gd name="connsiteY23" fmla="*/ 7714 h 8857"/>
                  <a:gd name="connsiteX24" fmla="*/ 8000 w 10000"/>
                  <a:gd name="connsiteY24" fmla="*/ 6856 h 8857"/>
                  <a:gd name="connsiteX25" fmla="*/ 7600 w 10000"/>
                  <a:gd name="connsiteY25" fmla="*/ 6571 h 8857"/>
                  <a:gd name="connsiteX26" fmla="*/ 7600 w 10000"/>
                  <a:gd name="connsiteY26" fmla="*/ 6286 h 8857"/>
                  <a:gd name="connsiteX27" fmla="*/ 8000 w 10000"/>
                  <a:gd name="connsiteY27" fmla="*/ 6286 h 8857"/>
                  <a:gd name="connsiteX28" fmla="*/ 8400 w 10000"/>
                  <a:gd name="connsiteY28" fmla="*/ 5141 h 8857"/>
                  <a:gd name="connsiteX29" fmla="*/ 9600 w 10000"/>
                  <a:gd name="connsiteY29" fmla="*/ 3713 h 8857"/>
                  <a:gd name="connsiteX30" fmla="*/ 9600 w 10000"/>
                  <a:gd name="connsiteY30" fmla="*/ 3143 h 8857"/>
                  <a:gd name="connsiteX0" fmla="*/ 9600 w 10000"/>
                  <a:gd name="connsiteY0" fmla="*/ 3549 h 10000"/>
                  <a:gd name="connsiteX1" fmla="*/ 10000 w 10000"/>
                  <a:gd name="connsiteY1" fmla="*/ 1934 h 10000"/>
                  <a:gd name="connsiteX2" fmla="*/ 1200 w 10000"/>
                  <a:gd name="connsiteY2" fmla="*/ 0 h 10000"/>
                  <a:gd name="connsiteX3" fmla="*/ 1200 w 10000"/>
                  <a:gd name="connsiteY3" fmla="*/ 322 h 10000"/>
                  <a:gd name="connsiteX4" fmla="*/ 1200 w 10000"/>
                  <a:gd name="connsiteY4" fmla="*/ 2258 h 10000"/>
                  <a:gd name="connsiteX5" fmla="*/ 1200 w 10000"/>
                  <a:gd name="connsiteY5" fmla="*/ 2581 h 10000"/>
                  <a:gd name="connsiteX6" fmla="*/ 800 w 10000"/>
                  <a:gd name="connsiteY6" fmla="*/ 2581 h 10000"/>
                  <a:gd name="connsiteX7" fmla="*/ 0 w 10000"/>
                  <a:gd name="connsiteY7" fmla="*/ 4192 h 10000"/>
                  <a:gd name="connsiteX8" fmla="*/ 800 w 10000"/>
                  <a:gd name="connsiteY8" fmla="*/ 5161 h 10000"/>
                  <a:gd name="connsiteX9" fmla="*/ 400 w 10000"/>
                  <a:gd name="connsiteY9" fmla="*/ 5483 h 10000"/>
                  <a:gd name="connsiteX10" fmla="*/ 1200 w 10000"/>
                  <a:gd name="connsiteY10" fmla="*/ 6128 h 10000"/>
                  <a:gd name="connsiteX11" fmla="*/ 1200 w 10000"/>
                  <a:gd name="connsiteY11" fmla="*/ 6773 h 10000"/>
                  <a:gd name="connsiteX12" fmla="*/ 2000 w 10000"/>
                  <a:gd name="connsiteY12" fmla="*/ 7097 h 10000"/>
                  <a:gd name="connsiteX13" fmla="*/ 4000 w 10000"/>
                  <a:gd name="connsiteY13" fmla="*/ 9031 h 10000"/>
                  <a:gd name="connsiteX14" fmla="*/ 4400 w 10000"/>
                  <a:gd name="connsiteY14" fmla="*/ 9354 h 10000"/>
                  <a:gd name="connsiteX15" fmla="*/ 5200 w 10000"/>
                  <a:gd name="connsiteY15" fmla="*/ 9354 h 10000"/>
                  <a:gd name="connsiteX16" fmla="*/ 6001 w 10000"/>
                  <a:gd name="connsiteY16" fmla="*/ 10000 h 10000"/>
                  <a:gd name="connsiteX17" fmla="*/ 6800 w 10000"/>
                  <a:gd name="connsiteY17" fmla="*/ 10000 h 10000"/>
                  <a:gd name="connsiteX18" fmla="*/ 8000 w 10000"/>
                  <a:gd name="connsiteY18" fmla="*/ 9678 h 10000"/>
                  <a:gd name="connsiteX19" fmla="*/ 8400 w 10000"/>
                  <a:gd name="connsiteY19" fmla="*/ 9354 h 10000"/>
                  <a:gd name="connsiteX20" fmla="*/ 9201 w 10000"/>
                  <a:gd name="connsiteY20" fmla="*/ 9354 h 10000"/>
                  <a:gd name="connsiteX21" fmla="*/ 9201 w 10000"/>
                  <a:gd name="connsiteY21" fmla="*/ 9031 h 10000"/>
                  <a:gd name="connsiteX22" fmla="*/ 8800 w 10000"/>
                  <a:gd name="connsiteY22" fmla="*/ 8709 h 10000"/>
                  <a:gd name="connsiteX23" fmla="*/ 8000 w 10000"/>
                  <a:gd name="connsiteY23" fmla="*/ 7741 h 10000"/>
                  <a:gd name="connsiteX24" fmla="*/ 7600 w 10000"/>
                  <a:gd name="connsiteY24" fmla="*/ 7419 h 10000"/>
                  <a:gd name="connsiteX25" fmla="*/ 7600 w 10000"/>
                  <a:gd name="connsiteY25" fmla="*/ 7097 h 10000"/>
                  <a:gd name="connsiteX26" fmla="*/ 8000 w 10000"/>
                  <a:gd name="connsiteY26" fmla="*/ 7097 h 10000"/>
                  <a:gd name="connsiteX27" fmla="*/ 8400 w 10000"/>
                  <a:gd name="connsiteY27" fmla="*/ 5804 h 10000"/>
                  <a:gd name="connsiteX28" fmla="*/ 9600 w 10000"/>
                  <a:gd name="connsiteY28" fmla="*/ 4192 h 10000"/>
                  <a:gd name="connsiteX29" fmla="*/ 9600 w 10000"/>
                  <a:gd name="connsiteY29" fmla="*/ 3549 h 10000"/>
                  <a:gd name="connsiteX0" fmla="*/ 9600 w 10000"/>
                  <a:gd name="connsiteY0" fmla="*/ 3549 h 10000"/>
                  <a:gd name="connsiteX1" fmla="*/ 10000 w 10000"/>
                  <a:gd name="connsiteY1" fmla="*/ 1934 h 10000"/>
                  <a:gd name="connsiteX2" fmla="*/ 1200 w 10000"/>
                  <a:gd name="connsiteY2" fmla="*/ 0 h 10000"/>
                  <a:gd name="connsiteX3" fmla="*/ 1200 w 10000"/>
                  <a:gd name="connsiteY3" fmla="*/ 2258 h 10000"/>
                  <a:gd name="connsiteX4" fmla="*/ 1200 w 10000"/>
                  <a:gd name="connsiteY4" fmla="*/ 2581 h 10000"/>
                  <a:gd name="connsiteX5" fmla="*/ 800 w 10000"/>
                  <a:gd name="connsiteY5" fmla="*/ 2581 h 10000"/>
                  <a:gd name="connsiteX6" fmla="*/ 0 w 10000"/>
                  <a:gd name="connsiteY6" fmla="*/ 4192 h 10000"/>
                  <a:gd name="connsiteX7" fmla="*/ 800 w 10000"/>
                  <a:gd name="connsiteY7" fmla="*/ 5161 h 10000"/>
                  <a:gd name="connsiteX8" fmla="*/ 400 w 10000"/>
                  <a:gd name="connsiteY8" fmla="*/ 5483 h 10000"/>
                  <a:gd name="connsiteX9" fmla="*/ 1200 w 10000"/>
                  <a:gd name="connsiteY9" fmla="*/ 6128 h 10000"/>
                  <a:gd name="connsiteX10" fmla="*/ 1200 w 10000"/>
                  <a:gd name="connsiteY10" fmla="*/ 6773 h 10000"/>
                  <a:gd name="connsiteX11" fmla="*/ 2000 w 10000"/>
                  <a:gd name="connsiteY11" fmla="*/ 7097 h 10000"/>
                  <a:gd name="connsiteX12" fmla="*/ 4000 w 10000"/>
                  <a:gd name="connsiteY12" fmla="*/ 9031 h 10000"/>
                  <a:gd name="connsiteX13" fmla="*/ 4400 w 10000"/>
                  <a:gd name="connsiteY13" fmla="*/ 9354 h 10000"/>
                  <a:gd name="connsiteX14" fmla="*/ 5200 w 10000"/>
                  <a:gd name="connsiteY14" fmla="*/ 9354 h 10000"/>
                  <a:gd name="connsiteX15" fmla="*/ 6001 w 10000"/>
                  <a:gd name="connsiteY15" fmla="*/ 10000 h 10000"/>
                  <a:gd name="connsiteX16" fmla="*/ 6800 w 10000"/>
                  <a:gd name="connsiteY16" fmla="*/ 10000 h 10000"/>
                  <a:gd name="connsiteX17" fmla="*/ 8000 w 10000"/>
                  <a:gd name="connsiteY17" fmla="*/ 9678 h 10000"/>
                  <a:gd name="connsiteX18" fmla="*/ 8400 w 10000"/>
                  <a:gd name="connsiteY18" fmla="*/ 9354 h 10000"/>
                  <a:gd name="connsiteX19" fmla="*/ 9201 w 10000"/>
                  <a:gd name="connsiteY19" fmla="*/ 9354 h 10000"/>
                  <a:gd name="connsiteX20" fmla="*/ 9201 w 10000"/>
                  <a:gd name="connsiteY20" fmla="*/ 9031 h 10000"/>
                  <a:gd name="connsiteX21" fmla="*/ 8800 w 10000"/>
                  <a:gd name="connsiteY21" fmla="*/ 8709 h 10000"/>
                  <a:gd name="connsiteX22" fmla="*/ 8000 w 10000"/>
                  <a:gd name="connsiteY22" fmla="*/ 7741 h 10000"/>
                  <a:gd name="connsiteX23" fmla="*/ 7600 w 10000"/>
                  <a:gd name="connsiteY23" fmla="*/ 7419 h 10000"/>
                  <a:gd name="connsiteX24" fmla="*/ 7600 w 10000"/>
                  <a:gd name="connsiteY24" fmla="*/ 7097 h 10000"/>
                  <a:gd name="connsiteX25" fmla="*/ 8000 w 10000"/>
                  <a:gd name="connsiteY25" fmla="*/ 7097 h 10000"/>
                  <a:gd name="connsiteX26" fmla="*/ 8400 w 10000"/>
                  <a:gd name="connsiteY26" fmla="*/ 5804 h 10000"/>
                  <a:gd name="connsiteX27" fmla="*/ 9600 w 10000"/>
                  <a:gd name="connsiteY27" fmla="*/ 4192 h 10000"/>
                  <a:gd name="connsiteX28" fmla="*/ 9600 w 10000"/>
                  <a:gd name="connsiteY28" fmla="*/ 3549 h 10000"/>
                  <a:gd name="connsiteX0" fmla="*/ 9600 w 10000"/>
                  <a:gd name="connsiteY0" fmla="*/ 1615 h 8066"/>
                  <a:gd name="connsiteX1" fmla="*/ 10000 w 10000"/>
                  <a:gd name="connsiteY1" fmla="*/ 0 h 8066"/>
                  <a:gd name="connsiteX2" fmla="*/ 1200 w 10000"/>
                  <a:gd name="connsiteY2" fmla="*/ 324 h 8066"/>
                  <a:gd name="connsiteX3" fmla="*/ 1200 w 10000"/>
                  <a:gd name="connsiteY3" fmla="*/ 647 h 8066"/>
                  <a:gd name="connsiteX4" fmla="*/ 800 w 10000"/>
                  <a:gd name="connsiteY4" fmla="*/ 647 h 8066"/>
                  <a:gd name="connsiteX5" fmla="*/ 0 w 10000"/>
                  <a:gd name="connsiteY5" fmla="*/ 2258 h 8066"/>
                  <a:gd name="connsiteX6" fmla="*/ 800 w 10000"/>
                  <a:gd name="connsiteY6" fmla="*/ 3227 h 8066"/>
                  <a:gd name="connsiteX7" fmla="*/ 400 w 10000"/>
                  <a:gd name="connsiteY7" fmla="*/ 3549 h 8066"/>
                  <a:gd name="connsiteX8" fmla="*/ 1200 w 10000"/>
                  <a:gd name="connsiteY8" fmla="*/ 4194 h 8066"/>
                  <a:gd name="connsiteX9" fmla="*/ 1200 w 10000"/>
                  <a:gd name="connsiteY9" fmla="*/ 4839 h 8066"/>
                  <a:gd name="connsiteX10" fmla="*/ 2000 w 10000"/>
                  <a:gd name="connsiteY10" fmla="*/ 5163 h 8066"/>
                  <a:gd name="connsiteX11" fmla="*/ 4000 w 10000"/>
                  <a:gd name="connsiteY11" fmla="*/ 7097 h 8066"/>
                  <a:gd name="connsiteX12" fmla="*/ 4400 w 10000"/>
                  <a:gd name="connsiteY12" fmla="*/ 7420 h 8066"/>
                  <a:gd name="connsiteX13" fmla="*/ 5200 w 10000"/>
                  <a:gd name="connsiteY13" fmla="*/ 7420 h 8066"/>
                  <a:gd name="connsiteX14" fmla="*/ 6001 w 10000"/>
                  <a:gd name="connsiteY14" fmla="*/ 8066 h 8066"/>
                  <a:gd name="connsiteX15" fmla="*/ 6800 w 10000"/>
                  <a:gd name="connsiteY15" fmla="*/ 8066 h 8066"/>
                  <a:gd name="connsiteX16" fmla="*/ 8000 w 10000"/>
                  <a:gd name="connsiteY16" fmla="*/ 7744 h 8066"/>
                  <a:gd name="connsiteX17" fmla="*/ 8400 w 10000"/>
                  <a:gd name="connsiteY17" fmla="*/ 7420 h 8066"/>
                  <a:gd name="connsiteX18" fmla="*/ 9201 w 10000"/>
                  <a:gd name="connsiteY18" fmla="*/ 7420 h 8066"/>
                  <a:gd name="connsiteX19" fmla="*/ 9201 w 10000"/>
                  <a:gd name="connsiteY19" fmla="*/ 7097 h 8066"/>
                  <a:gd name="connsiteX20" fmla="*/ 8800 w 10000"/>
                  <a:gd name="connsiteY20" fmla="*/ 6775 h 8066"/>
                  <a:gd name="connsiteX21" fmla="*/ 8000 w 10000"/>
                  <a:gd name="connsiteY21" fmla="*/ 5807 h 8066"/>
                  <a:gd name="connsiteX22" fmla="*/ 7600 w 10000"/>
                  <a:gd name="connsiteY22" fmla="*/ 5485 h 8066"/>
                  <a:gd name="connsiteX23" fmla="*/ 7600 w 10000"/>
                  <a:gd name="connsiteY23" fmla="*/ 5163 h 8066"/>
                  <a:gd name="connsiteX24" fmla="*/ 8000 w 10000"/>
                  <a:gd name="connsiteY24" fmla="*/ 5163 h 8066"/>
                  <a:gd name="connsiteX25" fmla="*/ 8400 w 10000"/>
                  <a:gd name="connsiteY25" fmla="*/ 3870 h 8066"/>
                  <a:gd name="connsiteX26" fmla="*/ 9600 w 10000"/>
                  <a:gd name="connsiteY26" fmla="*/ 2258 h 8066"/>
                  <a:gd name="connsiteX27" fmla="*/ 9600 w 10000"/>
                  <a:gd name="connsiteY27" fmla="*/ 1615 h 8066"/>
                  <a:gd name="connsiteX0" fmla="*/ 9600 w 9600"/>
                  <a:gd name="connsiteY0" fmla="*/ 1600 h 9598"/>
                  <a:gd name="connsiteX1" fmla="*/ 1200 w 9600"/>
                  <a:gd name="connsiteY1" fmla="*/ 0 h 9598"/>
                  <a:gd name="connsiteX2" fmla="*/ 1200 w 9600"/>
                  <a:gd name="connsiteY2" fmla="*/ 400 h 9598"/>
                  <a:gd name="connsiteX3" fmla="*/ 800 w 9600"/>
                  <a:gd name="connsiteY3" fmla="*/ 400 h 9598"/>
                  <a:gd name="connsiteX4" fmla="*/ 0 w 9600"/>
                  <a:gd name="connsiteY4" fmla="*/ 2397 h 9598"/>
                  <a:gd name="connsiteX5" fmla="*/ 800 w 9600"/>
                  <a:gd name="connsiteY5" fmla="*/ 3599 h 9598"/>
                  <a:gd name="connsiteX6" fmla="*/ 400 w 9600"/>
                  <a:gd name="connsiteY6" fmla="*/ 3998 h 9598"/>
                  <a:gd name="connsiteX7" fmla="*/ 1200 w 9600"/>
                  <a:gd name="connsiteY7" fmla="*/ 4798 h 9598"/>
                  <a:gd name="connsiteX8" fmla="*/ 1200 w 9600"/>
                  <a:gd name="connsiteY8" fmla="*/ 5597 h 9598"/>
                  <a:gd name="connsiteX9" fmla="*/ 2000 w 9600"/>
                  <a:gd name="connsiteY9" fmla="*/ 5999 h 9598"/>
                  <a:gd name="connsiteX10" fmla="*/ 4000 w 9600"/>
                  <a:gd name="connsiteY10" fmla="*/ 8397 h 9598"/>
                  <a:gd name="connsiteX11" fmla="*/ 4400 w 9600"/>
                  <a:gd name="connsiteY11" fmla="*/ 8797 h 9598"/>
                  <a:gd name="connsiteX12" fmla="*/ 5200 w 9600"/>
                  <a:gd name="connsiteY12" fmla="*/ 8797 h 9598"/>
                  <a:gd name="connsiteX13" fmla="*/ 6001 w 9600"/>
                  <a:gd name="connsiteY13" fmla="*/ 9598 h 9598"/>
                  <a:gd name="connsiteX14" fmla="*/ 6800 w 9600"/>
                  <a:gd name="connsiteY14" fmla="*/ 9598 h 9598"/>
                  <a:gd name="connsiteX15" fmla="*/ 8000 w 9600"/>
                  <a:gd name="connsiteY15" fmla="*/ 9199 h 9598"/>
                  <a:gd name="connsiteX16" fmla="*/ 8400 w 9600"/>
                  <a:gd name="connsiteY16" fmla="*/ 8797 h 9598"/>
                  <a:gd name="connsiteX17" fmla="*/ 9201 w 9600"/>
                  <a:gd name="connsiteY17" fmla="*/ 8797 h 9598"/>
                  <a:gd name="connsiteX18" fmla="*/ 9201 w 9600"/>
                  <a:gd name="connsiteY18" fmla="*/ 8397 h 9598"/>
                  <a:gd name="connsiteX19" fmla="*/ 8800 w 9600"/>
                  <a:gd name="connsiteY19" fmla="*/ 7997 h 9598"/>
                  <a:gd name="connsiteX20" fmla="*/ 8000 w 9600"/>
                  <a:gd name="connsiteY20" fmla="*/ 6797 h 9598"/>
                  <a:gd name="connsiteX21" fmla="*/ 7600 w 9600"/>
                  <a:gd name="connsiteY21" fmla="*/ 6398 h 9598"/>
                  <a:gd name="connsiteX22" fmla="*/ 7600 w 9600"/>
                  <a:gd name="connsiteY22" fmla="*/ 5999 h 9598"/>
                  <a:gd name="connsiteX23" fmla="*/ 8000 w 9600"/>
                  <a:gd name="connsiteY23" fmla="*/ 5999 h 9598"/>
                  <a:gd name="connsiteX24" fmla="*/ 8400 w 9600"/>
                  <a:gd name="connsiteY24" fmla="*/ 4396 h 9598"/>
                  <a:gd name="connsiteX25" fmla="*/ 9600 w 9600"/>
                  <a:gd name="connsiteY25" fmla="*/ 2397 h 9598"/>
                  <a:gd name="connsiteX26" fmla="*/ 9600 w 9600"/>
                  <a:gd name="connsiteY26" fmla="*/ 1600 h 9598"/>
                  <a:gd name="connsiteX0" fmla="*/ 10000 w 10000"/>
                  <a:gd name="connsiteY0" fmla="*/ 2497 h 10000"/>
                  <a:gd name="connsiteX1" fmla="*/ 1250 w 10000"/>
                  <a:gd name="connsiteY1" fmla="*/ 0 h 10000"/>
                  <a:gd name="connsiteX2" fmla="*/ 1250 w 10000"/>
                  <a:gd name="connsiteY2" fmla="*/ 417 h 10000"/>
                  <a:gd name="connsiteX3" fmla="*/ 833 w 10000"/>
                  <a:gd name="connsiteY3" fmla="*/ 417 h 10000"/>
                  <a:gd name="connsiteX4" fmla="*/ 0 w 10000"/>
                  <a:gd name="connsiteY4" fmla="*/ 2497 h 10000"/>
                  <a:gd name="connsiteX5" fmla="*/ 833 w 10000"/>
                  <a:gd name="connsiteY5" fmla="*/ 3750 h 10000"/>
                  <a:gd name="connsiteX6" fmla="*/ 417 w 10000"/>
                  <a:gd name="connsiteY6" fmla="*/ 4165 h 10000"/>
                  <a:gd name="connsiteX7" fmla="*/ 1250 w 10000"/>
                  <a:gd name="connsiteY7" fmla="*/ 4999 h 10000"/>
                  <a:gd name="connsiteX8" fmla="*/ 1250 w 10000"/>
                  <a:gd name="connsiteY8" fmla="*/ 5831 h 10000"/>
                  <a:gd name="connsiteX9" fmla="*/ 2083 w 10000"/>
                  <a:gd name="connsiteY9" fmla="*/ 6250 h 10000"/>
                  <a:gd name="connsiteX10" fmla="*/ 4167 w 10000"/>
                  <a:gd name="connsiteY10" fmla="*/ 8749 h 10000"/>
                  <a:gd name="connsiteX11" fmla="*/ 4583 w 10000"/>
                  <a:gd name="connsiteY11" fmla="*/ 9165 h 10000"/>
                  <a:gd name="connsiteX12" fmla="*/ 5417 w 10000"/>
                  <a:gd name="connsiteY12" fmla="*/ 9165 h 10000"/>
                  <a:gd name="connsiteX13" fmla="*/ 6251 w 10000"/>
                  <a:gd name="connsiteY13" fmla="*/ 10000 h 10000"/>
                  <a:gd name="connsiteX14" fmla="*/ 7083 w 10000"/>
                  <a:gd name="connsiteY14" fmla="*/ 10000 h 10000"/>
                  <a:gd name="connsiteX15" fmla="*/ 8333 w 10000"/>
                  <a:gd name="connsiteY15" fmla="*/ 9584 h 10000"/>
                  <a:gd name="connsiteX16" fmla="*/ 8750 w 10000"/>
                  <a:gd name="connsiteY16" fmla="*/ 9165 h 10000"/>
                  <a:gd name="connsiteX17" fmla="*/ 9584 w 10000"/>
                  <a:gd name="connsiteY17" fmla="*/ 9165 h 10000"/>
                  <a:gd name="connsiteX18" fmla="*/ 9584 w 10000"/>
                  <a:gd name="connsiteY18" fmla="*/ 8749 h 10000"/>
                  <a:gd name="connsiteX19" fmla="*/ 9167 w 10000"/>
                  <a:gd name="connsiteY19" fmla="*/ 8332 h 10000"/>
                  <a:gd name="connsiteX20" fmla="*/ 8333 w 10000"/>
                  <a:gd name="connsiteY20" fmla="*/ 7082 h 10000"/>
                  <a:gd name="connsiteX21" fmla="*/ 7917 w 10000"/>
                  <a:gd name="connsiteY21" fmla="*/ 6666 h 10000"/>
                  <a:gd name="connsiteX22" fmla="*/ 7917 w 10000"/>
                  <a:gd name="connsiteY22" fmla="*/ 6250 h 10000"/>
                  <a:gd name="connsiteX23" fmla="*/ 8333 w 10000"/>
                  <a:gd name="connsiteY23" fmla="*/ 6250 h 10000"/>
                  <a:gd name="connsiteX24" fmla="*/ 8750 w 10000"/>
                  <a:gd name="connsiteY24" fmla="*/ 4580 h 10000"/>
                  <a:gd name="connsiteX25" fmla="*/ 10000 w 10000"/>
                  <a:gd name="connsiteY25" fmla="*/ 2497 h 10000"/>
                  <a:gd name="connsiteX0" fmla="*/ 8750 w 9584"/>
                  <a:gd name="connsiteY0" fmla="*/ 4580 h 10000"/>
                  <a:gd name="connsiteX1" fmla="*/ 1250 w 9584"/>
                  <a:gd name="connsiteY1" fmla="*/ 0 h 10000"/>
                  <a:gd name="connsiteX2" fmla="*/ 1250 w 9584"/>
                  <a:gd name="connsiteY2" fmla="*/ 417 h 10000"/>
                  <a:gd name="connsiteX3" fmla="*/ 833 w 9584"/>
                  <a:gd name="connsiteY3" fmla="*/ 417 h 10000"/>
                  <a:gd name="connsiteX4" fmla="*/ 0 w 9584"/>
                  <a:gd name="connsiteY4" fmla="*/ 2497 h 10000"/>
                  <a:gd name="connsiteX5" fmla="*/ 833 w 9584"/>
                  <a:gd name="connsiteY5" fmla="*/ 3750 h 10000"/>
                  <a:gd name="connsiteX6" fmla="*/ 417 w 9584"/>
                  <a:gd name="connsiteY6" fmla="*/ 4165 h 10000"/>
                  <a:gd name="connsiteX7" fmla="*/ 1250 w 9584"/>
                  <a:gd name="connsiteY7" fmla="*/ 4999 h 10000"/>
                  <a:gd name="connsiteX8" fmla="*/ 1250 w 9584"/>
                  <a:gd name="connsiteY8" fmla="*/ 5831 h 10000"/>
                  <a:gd name="connsiteX9" fmla="*/ 2083 w 9584"/>
                  <a:gd name="connsiteY9" fmla="*/ 6250 h 10000"/>
                  <a:gd name="connsiteX10" fmla="*/ 4167 w 9584"/>
                  <a:gd name="connsiteY10" fmla="*/ 8749 h 10000"/>
                  <a:gd name="connsiteX11" fmla="*/ 4583 w 9584"/>
                  <a:gd name="connsiteY11" fmla="*/ 9165 h 10000"/>
                  <a:gd name="connsiteX12" fmla="*/ 5417 w 9584"/>
                  <a:gd name="connsiteY12" fmla="*/ 9165 h 10000"/>
                  <a:gd name="connsiteX13" fmla="*/ 6251 w 9584"/>
                  <a:gd name="connsiteY13" fmla="*/ 10000 h 10000"/>
                  <a:gd name="connsiteX14" fmla="*/ 7083 w 9584"/>
                  <a:gd name="connsiteY14" fmla="*/ 10000 h 10000"/>
                  <a:gd name="connsiteX15" fmla="*/ 8333 w 9584"/>
                  <a:gd name="connsiteY15" fmla="*/ 9584 h 10000"/>
                  <a:gd name="connsiteX16" fmla="*/ 8750 w 9584"/>
                  <a:gd name="connsiteY16" fmla="*/ 9165 h 10000"/>
                  <a:gd name="connsiteX17" fmla="*/ 9584 w 9584"/>
                  <a:gd name="connsiteY17" fmla="*/ 9165 h 10000"/>
                  <a:gd name="connsiteX18" fmla="*/ 9584 w 9584"/>
                  <a:gd name="connsiteY18" fmla="*/ 8749 h 10000"/>
                  <a:gd name="connsiteX19" fmla="*/ 9167 w 9584"/>
                  <a:gd name="connsiteY19" fmla="*/ 8332 h 10000"/>
                  <a:gd name="connsiteX20" fmla="*/ 8333 w 9584"/>
                  <a:gd name="connsiteY20" fmla="*/ 7082 h 10000"/>
                  <a:gd name="connsiteX21" fmla="*/ 7917 w 9584"/>
                  <a:gd name="connsiteY21" fmla="*/ 6666 h 10000"/>
                  <a:gd name="connsiteX22" fmla="*/ 7917 w 9584"/>
                  <a:gd name="connsiteY22" fmla="*/ 6250 h 10000"/>
                  <a:gd name="connsiteX23" fmla="*/ 8333 w 9584"/>
                  <a:gd name="connsiteY23" fmla="*/ 6250 h 10000"/>
                  <a:gd name="connsiteX24" fmla="*/ 8750 w 9584"/>
                  <a:gd name="connsiteY24" fmla="*/ 4580 h 10000"/>
                  <a:gd name="connsiteX0" fmla="*/ 9130 w 10000"/>
                  <a:gd name="connsiteY0" fmla="*/ 4580 h 10000"/>
                  <a:gd name="connsiteX1" fmla="*/ 1304 w 10000"/>
                  <a:gd name="connsiteY1" fmla="*/ 0 h 10000"/>
                  <a:gd name="connsiteX2" fmla="*/ 1304 w 10000"/>
                  <a:gd name="connsiteY2" fmla="*/ 417 h 10000"/>
                  <a:gd name="connsiteX3" fmla="*/ 0 w 10000"/>
                  <a:gd name="connsiteY3" fmla="*/ 2497 h 10000"/>
                  <a:gd name="connsiteX4" fmla="*/ 869 w 10000"/>
                  <a:gd name="connsiteY4" fmla="*/ 3750 h 10000"/>
                  <a:gd name="connsiteX5" fmla="*/ 435 w 10000"/>
                  <a:gd name="connsiteY5" fmla="*/ 4165 h 10000"/>
                  <a:gd name="connsiteX6" fmla="*/ 1304 w 10000"/>
                  <a:gd name="connsiteY6" fmla="*/ 4999 h 10000"/>
                  <a:gd name="connsiteX7" fmla="*/ 1304 w 10000"/>
                  <a:gd name="connsiteY7" fmla="*/ 5831 h 10000"/>
                  <a:gd name="connsiteX8" fmla="*/ 2173 w 10000"/>
                  <a:gd name="connsiteY8" fmla="*/ 6250 h 10000"/>
                  <a:gd name="connsiteX9" fmla="*/ 4348 w 10000"/>
                  <a:gd name="connsiteY9" fmla="*/ 8749 h 10000"/>
                  <a:gd name="connsiteX10" fmla="*/ 4782 w 10000"/>
                  <a:gd name="connsiteY10" fmla="*/ 9165 h 10000"/>
                  <a:gd name="connsiteX11" fmla="*/ 5652 w 10000"/>
                  <a:gd name="connsiteY11" fmla="*/ 9165 h 10000"/>
                  <a:gd name="connsiteX12" fmla="*/ 6522 w 10000"/>
                  <a:gd name="connsiteY12" fmla="*/ 10000 h 10000"/>
                  <a:gd name="connsiteX13" fmla="*/ 7390 w 10000"/>
                  <a:gd name="connsiteY13" fmla="*/ 10000 h 10000"/>
                  <a:gd name="connsiteX14" fmla="*/ 8695 w 10000"/>
                  <a:gd name="connsiteY14" fmla="*/ 9584 h 10000"/>
                  <a:gd name="connsiteX15" fmla="*/ 9130 w 10000"/>
                  <a:gd name="connsiteY15" fmla="*/ 9165 h 10000"/>
                  <a:gd name="connsiteX16" fmla="*/ 10000 w 10000"/>
                  <a:gd name="connsiteY16" fmla="*/ 9165 h 10000"/>
                  <a:gd name="connsiteX17" fmla="*/ 10000 w 10000"/>
                  <a:gd name="connsiteY17" fmla="*/ 8749 h 10000"/>
                  <a:gd name="connsiteX18" fmla="*/ 9565 w 10000"/>
                  <a:gd name="connsiteY18" fmla="*/ 8332 h 10000"/>
                  <a:gd name="connsiteX19" fmla="*/ 8695 w 10000"/>
                  <a:gd name="connsiteY19" fmla="*/ 7082 h 10000"/>
                  <a:gd name="connsiteX20" fmla="*/ 8261 w 10000"/>
                  <a:gd name="connsiteY20" fmla="*/ 6666 h 10000"/>
                  <a:gd name="connsiteX21" fmla="*/ 8261 w 10000"/>
                  <a:gd name="connsiteY21" fmla="*/ 6250 h 10000"/>
                  <a:gd name="connsiteX22" fmla="*/ 8695 w 10000"/>
                  <a:gd name="connsiteY22" fmla="*/ 6250 h 10000"/>
                  <a:gd name="connsiteX23" fmla="*/ 9130 w 10000"/>
                  <a:gd name="connsiteY23" fmla="*/ 4580 h 10000"/>
                  <a:gd name="connsiteX0" fmla="*/ 9130 w 10000"/>
                  <a:gd name="connsiteY0" fmla="*/ 4163 h 9583"/>
                  <a:gd name="connsiteX1" fmla="*/ 1304 w 10000"/>
                  <a:gd name="connsiteY1" fmla="*/ 0 h 9583"/>
                  <a:gd name="connsiteX2" fmla="*/ 0 w 10000"/>
                  <a:gd name="connsiteY2" fmla="*/ 2080 h 9583"/>
                  <a:gd name="connsiteX3" fmla="*/ 869 w 10000"/>
                  <a:gd name="connsiteY3" fmla="*/ 3333 h 9583"/>
                  <a:gd name="connsiteX4" fmla="*/ 435 w 10000"/>
                  <a:gd name="connsiteY4" fmla="*/ 3748 h 9583"/>
                  <a:gd name="connsiteX5" fmla="*/ 1304 w 10000"/>
                  <a:gd name="connsiteY5" fmla="*/ 4582 h 9583"/>
                  <a:gd name="connsiteX6" fmla="*/ 1304 w 10000"/>
                  <a:gd name="connsiteY6" fmla="*/ 5414 h 9583"/>
                  <a:gd name="connsiteX7" fmla="*/ 2173 w 10000"/>
                  <a:gd name="connsiteY7" fmla="*/ 5833 h 9583"/>
                  <a:gd name="connsiteX8" fmla="*/ 4348 w 10000"/>
                  <a:gd name="connsiteY8" fmla="*/ 8332 h 9583"/>
                  <a:gd name="connsiteX9" fmla="*/ 4782 w 10000"/>
                  <a:gd name="connsiteY9" fmla="*/ 8748 h 9583"/>
                  <a:gd name="connsiteX10" fmla="*/ 5652 w 10000"/>
                  <a:gd name="connsiteY10" fmla="*/ 8748 h 9583"/>
                  <a:gd name="connsiteX11" fmla="*/ 6522 w 10000"/>
                  <a:gd name="connsiteY11" fmla="*/ 9583 h 9583"/>
                  <a:gd name="connsiteX12" fmla="*/ 7390 w 10000"/>
                  <a:gd name="connsiteY12" fmla="*/ 9583 h 9583"/>
                  <a:gd name="connsiteX13" fmla="*/ 8695 w 10000"/>
                  <a:gd name="connsiteY13" fmla="*/ 9167 h 9583"/>
                  <a:gd name="connsiteX14" fmla="*/ 9130 w 10000"/>
                  <a:gd name="connsiteY14" fmla="*/ 8748 h 9583"/>
                  <a:gd name="connsiteX15" fmla="*/ 10000 w 10000"/>
                  <a:gd name="connsiteY15" fmla="*/ 8748 h 9583"/>
                  <a:gd name="connsiteX16" fmla="*/ 10000 w 10000"/>
                  <a:gd name="connsiteY16" fmla="*/ 8332 h 9583"/>
                  <a:gd name="connsiteX17" fmla="*/ 9565 w 10000"/>
                  <a:gd name="connsiteY17" fmla="*/ 7915 h 9583"/>
                  <a:gd name="connsiteX18" fmla="*/ 8695 w 10000"/>
                  <a:gd name="connsiteY18" fmla="*/ 6665 h 9583"/>
                  <a:gd name="connsiteX19" fmla="*/ 8261 w 10000"/>
                  <a:gd name="connsiteY19" fmla="*/ 6249 h 9583"/>
                  <a:gd name="connsiteX20" fmla="*/ 8261 w 10000"/>
                  <a:gd name="connsiteY20" fmla="*/ 5833 h 9583"/>
                  <a:gd name="connsiteX21" fmla="*/ 8695 w 10000"/>
                  <a:gd name="connsiteY21" fmla="*/ 5833 h 9583"/>
                  <a:gd name="connsiteX22" fmla="*/ 9130 w 10000"/>
                  <a:gd name="connsiteY22" fmla="*/ 4163 h 9583"/>
                  <a:gd name="connsiteX0" fmla="*/ 9130 w 10000"/>
                  <a:gd name="connsiteY0" fmla="*/ 2173 h 7829"/>
                  <a:gd name="connsiteX1" fmla="*/ 0 w 10000"/>
                  <a:gd name="connsiteY1" fmla="*/ 0 h 7829"/>
                  <a:gd name="connsiteX2" fmla="*/ 869 w 10000"/>
                  <a:gd name="connsiteY2" fmla="*/ 1307 h 7829"/>
                  <a:gd name="connsiteX3" fmla="*/ 435 w 10000"/>
                  <a:gd name="connsiteY3" fmla="*/ 1740 h 7829"/>
                  <a:gd name="connsiteX4" fmla="*/ 1304 w 10000"/>
                  <a:gd name="connsiteY4" fmla="*/ 2610 h 7829"/>
                  <a:gd name="connsiteX5" fmla="*/ 1304 w 10000"/>
                  <a:gd name="connsiteY5" fmla="*/ 3479 h 7829"/>
                  <a:gd name="connsiteX6" fmla="*/ 2173 w 10000"/>
                  <a:gd name="connsiteY6" fmla="*/ 3916 h 7829"/>
                  <a:gd name="connsiteX7" fmla="*/ 4348 w 10000"/>
                  <a:gd name="connsiteY7" fmla="*/ 6524 h 7829"/>
                  <a:gd name="connsiteX8" fmla="*/ 4782 w 10000"/>
                  <a:gd name="connsiteY8" fmla="*/ 6958 h 7829"/>
                  <a:gd name="connsiteX9" fmla="*/ 5652 w 10000"/>
                  <a:gd name="connsiteY9" fmla="*/ 6958 h 7829"/>
                  <a:gd name="connsiteX10" fmla="*/ 6522 w 10000"/>
                  <a:gd name="connsiteY10" fmla="*/ 7829 h 7829"/>
                  <a:gd name="connsiteX11" fmla="*/ 7390 w 10000"/>
                  <a:gd name="connsiteY11" fmla="*/ 7829 h 7829"/>
                  <a:gd name="connsiteX12" fmla="*/ 8695 w 10000"/>
                  <a:gd name="connsiteY12" fmla="*/ 7395 h 7829"/>
                  <a:gd name="connsiteX13" fmla="*/ 9130 w 10000"/>
                  <a:gd name="connsiteY13" fmla="*/ 6958 h 7829"/>
                  <a:gd name="connsiteX14" fmla="*/ 10000 w 10000"/>
                  <a:gd name="connsiteY14" fmla="*/ 6958 h 7829"/>
                  <a:gd name="connsiteX15" fmla="*/ 10000 w 10000"/>
                  <a:gd name="connsiteY15" fmla="*/ 6524 h 7829"/>
                  <a:gd name="connsiteX16" fmla="*/ 9565 w 10000"/>
                  <a:gd name="connsiteY16" fmla="*/ 6088 h 7829"/>
                  <a:gd name="connsiteX17" fmla="*/ 8695 w 10000"/>
                  <a:gd name="connsiteY17" fmla="*/ 4784 h 7829"/>
                  <a:gd name="connsiteX18" fmla="*/ 8261 w 10000"/>
                  <a:gd name="connsiteY18" fmla="*/ 4350 h 7829"/>
                  <a:gd name="connsiteX19" fmla="*/ 8261 w 10000"/>
                  <a:gd name="connsiteY19" fmla="*/ 3916 h 7829"/>
                  <a:gd name="connsiteX20" fmla="*/ 8695 w 10000"/>
                  <a:gd name="connsiteY20" fmla="*/ 3916 h 7829"/>
                  <a:gd name="connsiteX21" fmla="*/ 9130 w 10000"/>
                  <a:gd name="connsiteY21" fmla="*/ 2173 h 7829"/>
                  <a:gd name="connsiteX0" fmla="*/ 8695 w 9565"/>
                  <a:gd name="connsiteY0" fmla="*/ 1107 h 8331"/>
                  <a:gd name="connsiteX1" fmla="*/ 434 w 9565"/>
                  <a:gd name="connsiteY1" fmla="*/ 0 h 8331"/>
                  <a:gd name="connsiteX2" fmla="*/ 0 w 9565"/>
                  <a:gd name="connsiteY2" fmla="*/ 554 h 8331"/>
                  <a:gd name="connsiteX3" fmla="*/ 869 w 9565"/>
                  <a:gd name="connsiteY3" fmla="*/ 1665 h 8331"/>
                  <a:gd name="connsiteX4" fmla="*/ 869 w 9565"/>
                  <a:gd name="connsiteY4" fmla="*/ 2775 h 8331"/>
                  <a:gd name="connsiteX5" fmla="*/ 1738 w 9565"/>
                  <a:gd name="connsiteY5" fmla="*/ 3333 h 8331"/>
                  <a:gd name="connsiteX6" fmla="*/ 3913 w 9565"/>
                  <a:gd name="connsiteY6" fmla="*/ 6664 h 8331"/>
                  <a:gd name="connsiteX7" fmla="*/ 4347 w 9565"/>
                  <a:gd name="connsiteY7" fmla="*/ 7218 h 8331"/>
                  <a:gd name="connsiteX8" fmla="*/ 5217 w 9565"/>
                  <a:gd name="connsiteY8" fmla="*/ 7218 h 8331"/>
                  <a:gd name="connsiteX9" fmla="*/ 6087 w 9565"/>
                  <a:gd name="connsiteY9" fmla="*/ 8331 h 8331"/>
                  <a:gd name="connsiteX10" fmla="*/ 6955 w 9565"/>
                  <a:gd name="connsiteY10" fmla="*/ 8331 h 8331"/>
                  <a:gd name="connsiteX11" fmla="*/ 8260 w 9565"/>
                  <a:gd name="connsiteY11" fmla="*/ 7777 h 8331"/>
                  <a:gd name="connsiteX12" fmla="*/ 8695 w 9565"/>
                  <a:gd name="connsiteY12" fmla="*/ 7218 h 8331"/>
                  <a:gd name="connsiteX13" fmla="*/ 9565 w 9565"/>
                  <a:gd name="connsiteY13" fmla="*/ 7218 h 8331"/>
                  <a:gd name="connsiteX14" fmla="*/ 9565 w 9565"/>
                  <a:gd name="connsiteY14" fmla="*/ 6664 h 8331"/>
                  <a:gd name="connsiteX15" fmla="*/ 9130 w 9565"/>
                  <a:gd name="connsiteY15" fmla="*/ 6107 h 8331"/>
                  <a:gd name="connsiteX16" fmla="*/ 8260 w 9565"/>
                  <a:gd name="connsiteY16" fmla="*/ 4442 h 8331"/>
                  <a:gd name="connsiteX17" fmla="*/ 7826 w 9565"/>
                  <a:gd name="connsiteY17" fmla="*/ 3887 h 8331"/>
                  <a:gd name="connsiteX18" fmla="*/ 7826 w 9565"/>
                  <a:gd name="connsiteY18" fmla="*/ 3333 h 8331"/>
                  <a:gd name="connsiteX19" fmla="*/ 8260 w 9565"/>
                  <a:gd name="connsiteY19" fmla="*/ 3333 h 8331"/>
                  <a:gd name="connsiteX20" fmla="*/ 8695 w 9565"/>
                  <a:gd name="connsiteY20" fmla="*/ 1107 h 8331"/>
                  <a:gd name="connsiteX0" fmla="*/ 9090 w 10000"/>
                  <a:gd name="connsiteY0" fmla="*/ 1329 h 10000"/>
                  <a:gd name="connsiteX1" fmla="*/ 454 w 10000"/>
                  <a:gd name="connsiteY1" fmla="*/ 0 h 10000"/>
                  <a:gd name="connsiteX2" fmla="*/ 0 w 10000"/>
                  <a:gd name="connsiteY2" fmla="*/ 665 h 10000"/>
                  <a:gd name="connsiteX3" fmla="*/ 909 w 10000"/>
                  <a:gd name="connsiteY3" fmla="*/ 1999 h 10000"/>
                  <a:gd name="connsiteX4" fmla="*/ 1535 w 10000"/>
                  <a:gd name="connsiteY4" fmla="*/ 3331 h 10000"/>
                  <a:gd name="connsiteX5" fmla="*/ 1817 w 10000"/>
                  <a:gd name="connsiteY5" fmla="*/ 4001 h 10000"/>
                  <a:gd name="connsiteX6" fmla="*/ 4091 w 10000"/>
                  <a:gd name="connsiteY6" fmla="*/ 7999 h 10000"/>
                  <a:gd name="connsiteX7" fmla="*/ 4545 w 10000"/>
                  <a:gd name="connsiteY7" fmla="*/ 8664 h 10000"/>
                  <a:gd name="connsiteX8" fmla="*/ 5454 w 10000"/>
                  <a:gd name="connsiteY8" fmla="*/ 8664 h 10000"/>
                  <a:gd name="connsiteX9" fmla="*/ 6364 w 10000"/>
                  <a:gd name="connsiteY9" fmla="*/ 10000 h 10000"/>
                  <a:gd name="connsiteX10" fmla="*/ 7271 w 10000"/>
                  <a:gd name="connsiteY10" fmla="*/ 10000 h 10000"/>
                  <a:gd name="connsiteX11" fmla="*/ 8636 w 10000"/>
                  <a:gd name="connsiteY11" fmla="*/ 9335 h 10000"/>
                  <a:gd name="connsiteX12" fmla="*/ 9090 w 10000"/>
                  <a:gd name="connsiteY12" fmla="*/ 8664 h 10000"/>
                  <a:gd name="connsiteX13" fmla="*/ 10000 w 10000"/>
                  <a:gd name="connsiteY13" fmla="*/ 8664 h 10000"/>
                  <a:gd name="connsiteX14" fmla="*/ 10000 w 10000"/>
                  <a:gd name="connsiteY14" fmla="*/ 7999 h 10000"/>
                  <a:gd name="connsiteX15" fmla="*/ 9545 w 10000"/>
                  <a:gd name="connsiteY15" fmla="*/ 7330 h 10000"/>
                  <a:gd name="connsiteX16" fmla="*/ 8636 w 10000"/>
                  <a:gd name="connsiteY16" fmla="*/ 5332 h 10000"/>
                  <a:gd name="connsiteX17" fmla="*/ 8182 w 10000"/>
                  <a:gd name="connsiteY17" fmla="*/ 4666 h 10000"/>
                  <a:gd name="connsiteX18" fmla="*/ 8182 w 10000"/>
                  <a:gd name="connsiteY18" fmla="*/ 4001 h 10000"/>
                  <a:gd name="connsiteX19" fmla="*/ 8636 w 10000"/>
                  <a:gd name="connsiteY19" fmla="*/ 4001 h 10000"/>
                  <a:gd name="connsiteX20" fmla="*/ 9090 w 10000"/>
                  <a:gd name="connsiteY20" fmla="*/ 1329 h 10000"/>
                  <a:gd name="connsiteX0" fmla="*/ 9090 w 10000"/>
                  <a:gd name="connsiteY0" fmla="*/ 1329 h 10000"/>
                  <a:gd name="connsiteX1" fmla="*/ 454 w 10000"/>
                  <a:gd name="connsiteY1" fmla="*/ 0 h 10000"/>
                  <a:gd name="connsiteX2" fmla="*/ 0 w 10000"/>
                  <a:gd name="connsiteY2" fmla="*/ 665 h 10000"/>
                  <a:gd name="connsiteX3" fmla="*/ 1973 w 10000"/>
                  <a:gd name="connsiteY3" fmla="*/ 1352 h 10000"/>
                  <a:gd name="connsiteX4" fmla="*/ 1535 w 10000"/>
                  <a:gd name="connsiteY4" fmla="*/ 3331 h 10000"/>
                  <a:gd name="connsiteX5" fmla="*/ 1817 w 10000"/>
                  <a:gd name="connsiteY5" fmla="*/ 4001 h 10000"/>
                  <a:gd name="connsiteX6" fmla="*/ 4091 w 10000"/>
                  <a:gd name="connsiteY6" fmla="*/ 7999 h 10000"/>
                  <a:gd name="connsiteX7" fmla="*/ 4545 w 10000"/>
                  <a:gd name="connsiteY7" fmla="*/ 8664 h 10000"/>
                  <a:gd name="connsiteX8" fmla="*/ 5454 w 10000"/>
                  <a:gd name="connsiteY8" fmla="*/ 8664 h 10000"/>
                  <a:gd name="connsiteX9" fmla="*/ 6364 w 10000"/>
                  <a:gd name="connsiteY9" fmla="*/ 10000 h 10000"/>
                  <a:gd name="connsiteX10" fmla="*/ 7271 w 10000"/>
                  <a:gd name="connsiteY10" fmla="*/ 10000 h 10000"/>
                  <a:gd name="connsiteX11" fmla="*/ 8636 w 10000"/>
                  <a:gd name="connsiteY11" fmla="*/ 9335 h 10000"/>
                  <a:gd name="connsiteX12" fmla="*/ 9090 w 10000"/>
                  <a:gd name="connsiteY12" fmla="*/ 8664 h 10000"/>
                  <a:gd name="connsiteX13" fmla="*/ 10000 w 10000"/>
                  <a:gd name="connsiteY13" fmla="*/ 8664 h 10000"/>
                  <a:gd name="connsiteX14" fmla="*/ 10000 w 10000"/>
                  <a:gd name="connsiteY14" fmla="*/ 7999 h 10000"/>
                  <a:gd name="connsiteX15" fmla="*/ 9545 w 10000"/>
                  <a:gd name="connsiteY15" fmla="*/ 7330 h 10000"/>
                  <a:gd name="connsiteX16" fmla="*/ 8636 w 10000"/>
                  <a:gd name="connsiteY16" fmla="*/ 5332 h 10000"/>
                  <a:gd name="connsiteX17" fmla="*/ 8182 w 10000"/>
                  <a:gd name="connsiteY17" fmla="*/ 4666 h 10000"/>
                  <a:gd name="connsiteX18" fmla="*/ 8182 w 10000"/>
                  <a:gd name="connsiteY18" fmla="*/ 4001 h 10000"/>
                  <a:gd name="connsiteX19" fmla="*/ 8636 w 10000"/>
                  <a:gd name="connsiteY19" fmla="*/ 4001 h 10000"/>
                  <a:gd name="connsiteX20" fmla="*/ 9090 w 10000"/>
                  <a:gd name="connsiteY20" fmla="*/ 1329 h 10000"/>
                  <a:gd name="connsiteX0" fmla="*/ 8636 w 9546"/>
                  <a:gd name="connsiteY0" fmla="*/ 1329 h 10000"/>
                  <a:gd name="connsiteX1" fmla="*/ 0 w 9546"/>
                  <a:gd name="connsiteY1" fmla="*/ 0 h 10000"/>
                  <a:gd name="connsiteX2" fmla="*/ 2301 w 9546"/>
                  <a:gd name="connsiteY2" fmla="*/ 1312 h 10000"/>
                  <a:gd name="connsiteX3" fmla="*/ 1519 w 9546"/>
                  <a:gd name="connsiteY3" fmla="*/ 1352 h 10000"/>
                  <a:gd name="connsiteX4" fmla="*/ 1081 w 9546"/>
                  <a:gd name="connsiteY4" fmla="*/ 3331 h 10000"/>
                  <a:gd name="connsiteX5" fmla="*/ 1363 w 9546"/>
                  <a:gd name="connsiteY5" fmla="*/ 4001 h 10000"/>
                  <a:gd name="connsiteX6" fmla="*/ 3637 w 9546"/>
                  <a:gd name="connsiteY6" fmla="*/ 7999 h 10000"/>
                  <a:gd name="connsiteX7" fmla="*/ 4091 w 9546"/>
                  <a:gd name="connsiteY7" fmla="*/ 8664 h 10000"/>
                  <a:gd name="connsiteX8" fmla="*/ 5000 w 9546"/>
                  <a:gd name="connsiteY8" fmla="*/ 8664 h 10000"/>
                  <a:gd name="connsiteX9" fmla="*/ 5910 w 9546"/>
                  <a:gd name="connsiteY9" fmla="*/ 10000 h 10000"/>
                  <a:gd name="connsiteX10" fmla="*/ 6817 w 9546"/>
                  <a:gd name="connsiteY10" fmla="*/ 10000 h 10000"/>
                  <a:gd name="connsiteX11" fmla="*/ 8182 w 9546"/>
                  <a:gd name="connsiteY11" fmla="*/ 9335 h 10000"/>
                  <a:gd name="connsiteX12" fmla="*/ 8636 w 9546"/>
                  <a:gd name="connsiteY12" fmla="*/ 8664 h 10000"/>
                  <a:gd name="connsiteX13" fmla="*/ 9546 w 9546"/>
                  <a:gd name="connsiteY13" fmla="*/ 8664 h 10000"/>
                  <a:gd name="connsiteX14" fmla="*/ 9546 w 9546"/>
                  <a:gd name="connsiteY14" fmla="*/ 7999 h 10000"/>
                  <a:gd name="connsiteX15" fmla="*/ 9091 w 9546"/>
                  <a:gd name="connsiteY15" fmla="*/ 7330 h 10000"/>
                  <a:gd name="connsiteX16" fmla="*/ 8182 w 9546"/>
                  <a:gd name="connsiteY16" fmla="*/ 5332 h 10000"/>
                  <a:gd name="connsiteX17" fmla="*/ 7728 w 9546"/>
                  <a:gd name="connsiteY17" fmla="*/ 4666 h 10000"/>
                  <a:gd name="connsiteX18" fmla="*/ 7728 w 9546"/>
                  <a:gd name="connsiteY18" fmla="*/ 4001 h 10000"/>
                  <a:gd name="connsiteX19" fmla="*/ 8182 w 9546"/>
                  <a:gd name="connsiteY19" fmla="*/ 4001 h 10000"/>
                  <a:gd name="connsiteX20" fmla="*/ 8636 w 9546"/>
                  <a:gd name="connsiteY20" fmla="*/ 1329 h 10000"/>
                  <a:gd name="connsiteX0" fmla="*/ 7915 w 8868"/>
                  <a:gd name="connsiteY0" fmla="*/ 17 h 8688"/>
                  <a:gd name="connsiteX1" fmla="*/ 1623 w 8868"/>
                  <a:gd name="connsiteY1" fmla="*/ 1169 h 8688"/>
                  <a:gd name="connsiteX2" fmla="*/ 1278 w 8868"/>
                  <a:gd name="connsiteY2" fmla="*/ 0 h 8688"/>
                  <a:gd name="connsiteX3" fmla="*/ 459 w 8868"/>
                  <a:gd name="connsiteY3" fmla="*/ 40 h 8688"/>
                  <a:gd name="connsiteX4" fmla="*/ 0 w 8868"/>
                  <a:gd name="connsiteY4" fmla="*/ 2019 h 8688"/>
                  <a:gd name="connsiteX5" fmla="*/ 296 w 8868"/>
                  <a:gd name="connsiteY5" fmla="*/ 2689 h 8688"/>
                  <a:gd name="connsiteX6" fmla="*/ 2678 w 8868"/>
                  <a:gd name="connsiteY6" fmla="*/ 6687 h 8688"/>
                  <a:gd name="connsiteX7" fmla="*/ 3154 w 8868"/>
                  <a:gd name="connsiteY7" fmla="*/ 7352 h 8688"/>
                  <a:gd name="connsiteX8" fmla="*/ 4106 w 8868"/>
                  <a:gd name="connsiteY8" fmla="*/ 7352 h 8688"/>
                  <a:gd name="connsiteX9" fmla="*/ 5059 w 8868"/>
                  <a:gd name="connsiteY9" fmla="*/ 8688 h 8688"/>
                  <a:gd name="connsiteX10" fmla="*/ 6009 w 8868"/>
                  <a:gd name="connsiteY10" fmla="*/ 8688 h 8688"/>
                  <a:gd name="connsiteX11" fmla="*/ 7439 w 8868"/>
                  <a:gd name="connsiteY11" fmla="*/ 8023 h 8688"/>
                  <a:gd name="connsiteX12" fmla="*/ 7915 w 8868"/>
                  <a:gd name="connsiteY12" fmla="*/ 7352 h 8688"/>
                  <a:gd name="connsiteX13" fmla="*/ 8868 w 8868"/>
                  <a:gd name="connsiteY13" fmla="*/ 7352 h 8688"/>
                  <a:gd name="connsiteX14" fmla="*/ 8868 w 8868"/>
                  <a:gd name="connsiteY14" fmla="*/ 6687 h 8688"/>
                  <a:gd name="connsiteX15" fmla="*/ 8391 w 8868"/>
                  <a:gd name="connsiteY15" fmla="*/ 6018 h 8688"/>
                  <a:gd name="connsiteX16" fmla="*/ 7439 w 8868"/>
                  <a:gd name="connsiteY16" fmla="*/ 4020 h 8688"/>
                  <a:gd name="connsiteX17" fmla="*/ 6964 w 8868"/>
                  <a:gd name="connsiteY17" fmla="*/ 3354 h 8688"/>
                  <a:gd name="connsiteX18" fmla="*/ 6964 w 8868"/>
                  <a:gd name="connsiteY18" fmla="*/ 2689 h 8688"/>
                  <a:gd name="connsiteX19" fmla="*/ 7439 w 8868"/>
                  <a:gd name="connsiteY19" fmla="*/ 2689 h 8688"/>
                  <a:gd name="connsiteX20" fmla="*/ 7915 w 8868"/>
                  <a:gd name="connsiteY20" fmla="*/ 17 h 8688"/>
                  <a:gd name="connsiteX0" fmla="*/ 8925 w 10000"/>
                  <a:gd name="connsiteY0" fmla="*/ 20 h 10000"/>
                  <a:gd name="connsiteX1" fmla="*/ 6896 w 10000"/>
                  <a:gd name="connsiteY1" fmla="*/ 522 h 10000"/>
                  <a:gd name="connsiteX2" fmla="*/ 1830 w 10000"/>
                  <a:gd name="connsiteY2" fmla="*/ 1346 h 10000"/>
                  <a:gd name="connsiteX3" fmla="*/ 1441 w 10000"/>
                  <a:gd name="connsiteY3" fmla="*/ 0 h 10000"/>
                  <a:gd name="connsiteX4" fmla="*/ 518 w 10000"/>
                  <a:gd name="connsiteY4" fmla="*/ 46 h 10000"/>
                  <a:gd name="connsiteX5" fmla="*/ 0 w 10000"/>
                  <a:gd name="connsiteY5" fmla="*/ 2324 h 10000"/>
                  <a:gd name="connsiteX6" fmla="*/ 334 w 10000"/>
                  <a:gd name="connsiteY6" fmla="*/ 3095 h 10000"/>
                  <a:gd name="connsiteX7" fmla="*/ 3020 w 10000"/>
                  <a:gd name="connsiteY7" fmla="*/ 7697 h 10000"/>
                  <a:gd name="connsiteX8" fmla="*/ 3557 w 10000"/>
                  <a:gd name="connsiteY8" fmla="*/ 8462 h 10000"/>
                  <a:gd name="connsiteX9" fmla="*/ 4630 w 10000"/>
                  <a:gd name="connsiteY9" fmla="*/ 8462 h 10000"/>
                  <a:gd name="connsiteX10" fmla="*/ 5705 w 10000"/>
                  <a:gd name="connsiteY10" fmla="*/ 10000 h 10000"/>
                  <a:gd name="connsiteX11" fmla="*/ 6776 w 10000"/>
                  <a:gd name="connsiteY11" fmla="*/ 10000 h 10000"/>
                  <a:gd name="connsiteX12" fmla="*/ 8389 w 10000"/>
                  <a:gd name="connsiteY12" fmla="*/ 9235 h 10000"/>
                  <a:gd name="connsiteX13" fmla="*/ 8925 w 10000"/>
                  <a:gd name="connsiteY13" fmla="*/ 8462 h 10000"/>
                  <a:gd name="connsiteX14" fmla="*/ 10000 w 10000"/>
                  <a:gd name="connsiteY14" fmla="*/ 8462 h 10000"/>
                  <a:gd name="connsiteX15" fmla="*/ 10000 w 10000"/>
                  <a:gd name="connsiteY15" fmla="*/ 7697 h 10000"/>
                  <a:gd name="connsiteX16" fmla="*/ 9462 w 10000"/>
                  <a:gd name="connsiteY16" fmla="*/ 6927 h 10000"/>
                  <a:gd name="connsiteX17" fmla="*/ 8389 w 10000"/>
                  <a:gd name="connsiteY17" fmla="*/ 4627 h 10000"/>
                  <a:gd name="connsiteX18" fmla="*/ 7853 w 10000"/>
                  <a:gd name="connsiteY18" fmla="*/ 3860 h 10000"/>
                  <a:gd name="connsiteX19" fmla="*/ 7853 w 10000"/>
                  <a:gd name="connsiteY19" fmla="*/ 3095 h 10000"/>
                  <a:gd name="connsiteX20" fmla="*/ 8389 w 10000"/>
                  <a:gd name="connsiteY20" fmla="*/ 3095 h 10000"/>
                  <a:gd name="connsiteX21" fmla="*/ 8925 w 10000"/>
                  <a:gd name="connsiteY21" fmla="*/ 20 h 10000"/>
                  <a:gd name="connsiteX0" fmla="*/ 8925 w 10000"/>
                  <a:gd name="connsiteY0" fmla="*/ 20 h 10000"/>
                  <a:gd name="connsiteX1" fmla="*/ 4973 w 10000"/>
                  <a:gd name="connsiteY1" fmla="*/ 150 h 10000"/>
                  <a:gd name="connsiteX2" fmla="*/ 1830 w 10000"/>
                  <a:gd name="connsiteY2" fmla="*/ 1346 h 10000"/>
                  <a:gd name="connsiteX3" fmla="*/ 1441 w 10000"/>
                  <a:gd name="connsiteY3" fmla="*/ 0 h 10000"/>
                  <a:gd name="connsiteX4" fmla="*/ 518 w 10000"/>
                  <a:gd name="connsiteY4" fmla="*/ 46 h 10000"/>
                  <a:gd name="connsiteX5" fmla="*/ 0 w 10000"/>
                  <a:gd name="connsiteY5" fmla="*/ 2324 h 10000"/>
                  <a:gd name="connsiteX6" fmla="*/ 334 w 10000"/>
                  <a:gd name="connsiteY6" fmla="*/ 3095 h 10000"/>
                  <a:gd name="connsiteX7" fmla="*/ 3020 w 10000"/>
                  <a:gd name="connsiteY7" fmla="*/ 7697 h 10000"/>
                  <a:gd name="connsiteX8" fmla="*/ 3557 w 10000"/>
                  <a:gd name="connsiteY8" fmla="*/ 8462 h 10000"/>
                  <a:gd name="connsiteX9" fmla="*/ 4630 w 10000"/>
                  <a:gd name="connsiteY9" fmla="*/ 8462 h 10000"/>
                  <a:gd name="connsiteX10" fmla="*/ 5705 w 10000"/>
                  <a:gd name="connsiteY10" fmla="*/ 10000 h 10000"/>
                  <a:gd name="connsiteX11" fmla="*/ 6776 w 10000"/>
                  <a:gd name="connsiteY11" fmla="*/ 10000 h 10000"/>
                  <a:gd name="connsiteX12" fmla="*/ 8389 w 10000"/>
                  <a:gd name="connsiteY12" fmla="*/ 9235 h 10000"/>
                  <a:gd name="connsiteX13" fmla="*/ 8925 w 10000"/>
                  <a:gd name="connsiteY13" fmla="*/ 8462 h 10000"/>
                  <a:gd name="connsiteX14" fmla="*/ 10000 w 10000"/>
                  <a:gd name="connsiteY14" fmla="*/ 8462 h 10000"/>
                  <a:gd name="connsiteX15" fmla="*/ 10000 w 10000"/>
                  <a:gd name="connsiteY15" fmla="*/ 7697 h 10000"/>
                  <a:gd name="connsiteX16" fmla="*/ 9462 w 10000"/>
                  <a:gd name="connsiteY16" fmla="*/ 6927 h 10000"/>
                  <a:gd name="connsiteX17" fmla="*/ 8389 w 10000"/>
                  <a:gd name="connsiteY17" fmla="*/ 4627 h 10000"/>
                  <a:gd name="connsiteX18" fmla="*/ 7853 w 10000"/>
                  <a:gd name="connsiteY18" fmla="*/ 3860 h 10000"/>
                  <a:gd name="connsiteX19" fmla="*/ 7853 w 10000"/>
                  <a:gd name="connsiteY19" fmla="*/ 3095 h 10000"/>
                  <a:gd name="connsiteX20" fmla="*/ 8389 w 10000"/>
                  <a:gd name="connsiteY20" fmla="*/ 3095 h 10000"/>
                  <a:gd name="connsiteX21" fmla="*/ 8925 w 10000"/>
                  <a:gd name="connsiteY21" fmla="*/ 20 h 10000"/>
                  <a:gd name="connsiteX0" fmla="*/ 8925 w 10000"/>
                  <a:gd name="connsiteY0" fmla="*/ 20 h 10000"/>
                  <a:gd name="connsiteX1" fmla="*/ 7191 w 10000"/>
                  <a:gd name="connsiteY1" fmla="*/ 273 h 10000"/>
                  <a:gd name="connsiteX2" fmla="*/ 4973 w 10000"/>
                  <a:gd name="connsiteY2" fmla="*/ 150 h 10000"/>
                  <a:gd name="connsiteX3" fmla="*/ 1830 w 10000"/>
                  <a:gd name="connsiteY3" fmla="*/ 1346 h 10000"/>
                  <a:gd name="connsiteX4" fmla="*/ 1441 w 10000"/>
                  <a:gd name="connsiteY4" fmla="*/ 0 h 10000"/>
                  <a:gd name="connsiteX5" fmla="*/ 518 w 10000"/>
                  <a:gd name="connsiteY5" fmla="*/ 46 h 10000"/>
                  <a:gd name="connsiteX6" fmla="*/ 0 w 10000"/>
                  <a:gd name="connsiteY6" fmla="*/ 2324 h 10000"/>
                  <a:gd name="connsiteX7" fmla="*/ 334 w 10000"/>
                  <a:gd name="connsiteY7" fmla="*/ 3095 h 10000"/>
                  <a:gd name="connsiteX8" fmla="*/ 3020 w 10000"/>
                  <a:gd name="connsiteY8" fmla="*/ 7697 h 10000"/>
                  <a:gd name="connsiteX9" fmla="*/ 3557 w 10000"/>
                  <a:gd name="connsiteY9" fmla="*/ 8462 h 10000"/>
                  <a:gd name="connsiteX10" fmla="*/ 4630 w 10000"/>
                  <a:gd name="connsiteY10" fmla="*/ 8462 h 10000"/>
                  <a:gd name="connsiteX11" fmla="*/ 5705 w 10000"/>
                  <a:gd name="connsiteY11" fmla="*/ 10000 h 10000"/>
                  <a:gd name="connsiteX12" fmla="*/ 6776 w 10000"/>
                  <a:gd name="connsiteY12" fmla="*/ 10000 h 10000"/>
                  <a:gd name="connsiteX13" fmla="*/ 8389 w 10000"/>
                  <a:gd name="connsiteY13" fmla="*/ 9235 h 10000"/>
                  <a:gd name="connsiteX14" fmla="*/ 8925 w 10000"/>
                  <a:gd name="connsiteY14" fmla="*/ 8462 h 10000"/>
                  <a:gd name="connsiteX15" fmla="*/ 10000 w 10000"/>
                  <a:gd name="connsiteY15" fmla="*/ 8462 h 10000"/>
                  <a:gd name="connsiteX16" fmla="*/ 10000 w 10000"/>
                  <a:gd name="connsiteY16" fmla="*/ 7697 h 10000"/>
                  <a:gd name="connsiteX17" fmla="*/ 9462 w 10000"/>
                  <a:gd name="connsiteY17" fmla="*/ 6927 h 10000"/>
                  <a:gd name="connsiteX18" fmla="*/ 8389 w 10000"/>
                  <a:gd name="connsiteY18" fmla="*/ 4627 h 10000"/>
                  <a:gd name="connsiteX19" fmla="*/ 7853 w 10000"/>
                  <a:gd name="connsiteY19" fmla="*/ 3860 h 10000"/>
                  <a:gd name="connsiteX20" fmla="*/ 7853 w 10000"/>
                  <a:gd name="connsiteY20" fmla="*/ 3095 h 10000"/>
                  <a:gd name="connsiteX21" fmla="*/ 8389 w 10000"/>
                  <a:gd name="connsiteY21" fmla="*/ 3095 h 10000"/>
                  <a:gd name="connsiteX22" fmla="*/ 8925 w 10000"/>
                  <a:gd name="connsiteY22" fmla="*/ 20 h 10000"/>
                  <a:gd name="connsiteX0" fmla="*/ 8925 w 10000"/>
                  <a:gd name="connsiteY0" fmla="*/ 20 h 10000"/>
                  <a:gd name="connsiteX1" fmla="*/ 6008 w 10000"/>
                  <a:gd name="connsiteY1" fmla="*/ 1142 h 10000"/>
                  <a:gd name="connsiteX2" fmla="*/ 4973 w 10000"/>
                  <a:gd name="connsiteY2" fmla="*/ 150 h 10000"/>
                  <a:gd name="connsiteX3" fmla="*/ 1830 w 10000"/>
                  <a:gd name="connsiteY3" fmla="*/ 1346 h 10000"/>
                  <a:gd name="connsiteX4" fmla="*/ 1441 w 10000"/>
                  <a:gd name="connsiteY4" fmla="*/ 0 h 10000"/>
                  <a:gd name="connsiteX5" fmla="*/ 518 w 10000"/>
                  <a:gd name="connsiteY5" fmla="*/ 46 h 10000"/>
                  <a:gd name="connsiteX6" fmla="*/ 0 w 10000"/>
                  <a:gd name="connsiteY6" fmla="*/ 2324 h 10000"/>
                  <a:gd name="connsiteX7" fmla="*/ 334 w 10000"/>
                  <a:gd name="connsiteY7" fmla="*/ 3095 h 10000"/>
                  <a:gd name="connsiteX8" fmla="*/ 3020 w 10000"/>
                  <a:gd name="connsiteY8" fmla="*/ 7697 h 10000"/>
                  <a:gd name="connsiteX9" fmla="*/ 3557 w 10000"/>
                  <a:gd name="connsiteY9" fmla="*/ 8462 h 10000"/>
                  <a:gd name="connsiteX10" fmla="*/ 4630 w 10000"/>
                  <a:gd name="connsiteY10" fmla="*/ 8462 h 10000"/>
                  <a:gd name="connsiteX11" fmla="*/ 5705 w 10000"/>
                  <a:gd name="connsiteY11" fmla="*/ 10000 h 10000"/>
                  <a:gd name="connsiteX12" fmla="*/ 6776 w 10000"/>
                  <a:gd name="connsiteY12" fmla="*/ 10000 h 10000"/>
                  <a:gd name="connsiteX13" fmla="*/ 8389 w 10000"/>
                  <a:gd name="connsiteY13" fmla="*/ 9235 h 10000"/>
                  <a:gd name="connsiteX14" fmla="*/ 8925 w 10000"/>
                  <a:gd name="connsiteY14" fmla="*/ 8462 h 10000"/>
                  <a:gd name="connsiteX15" fmla="*/ 10000 w 10000"/>
                  <a:gd name="connsiteY15" fmla="*/ 8462 h 10000"/>
                  <a:gd name="connsiteX16" fmla="*/ 10000 w 10000"/>
                  <a:gd name="connsiteY16" fmla="*/ 7697 h 10000"/>
                  <a:gd name="connsiteX17" fmla="*/ 9462 w 10000"/>
                  <a:gd name="connsiteY17" fmla="*/ 6927 h 10000"/>
                  <a:gd name="connsiteX18" fmla="*/ 8389 w 10000"/>
                  <a:gd name="connsiteY18" fmla="*/ 4627 h 10000"/>
                  <a:gd name="connsiteX19" fmla="*/ 7853 w 10000"/>
                  <a:gd name="connsiteY19" fmla="*/ 3860 h 10000"/>
                  <a:gd name="connsiteX20" fmla="*/ 7853 w 10000"/>
                  <a:gd name="connsiteY20" fmla="*/ 3095 h 10000"/>
                  <a:gd name="connsiteX21" fmla="*/ 8389 w 10000"/>
                  <a:gd name="connsiteY21" fmla="*/ 3095 h 10000"/>
                  <a:gd name="connsiteX22" fmla="*/ 8925 w 10000"/>
                  <a:gd name="connsiteY22" fmla="*/ 20 h 10000"/>
                  <a:gd name="connsiteX0" fmla="*/ 8925 w 10000"/>
                  <a:gd name="connsiteY0" fmla="*/ 20 h 10000"/>
                  <a:gd name="connsiteX1" fmla="*/ 7857 w 10000"/>
                  <a:gd name="connsiteY1" fmla="*/ 397 h 10000"/>
                  <a:gd name="connsiteX2" fmla="*/ 6008 w 10000"/>
                  <a:gd name="connsiteY2" fmla="*/ 1142 h 10000"/>
                  <a:gd name="connsiteX3" fmla="*/ 4973 w 10000"/>
                  <a:gd name="connsiteY3" fmla="*/ 150 h 10000"/>
                  <a:gd name="connsiteX4" fmla="*/ 1830 w 10000"/>
                  <a:gd name="connsiteY4" fmla="*/ 1346 h 10000"/>
                  <a:gd name="connsiteX5" fmla="*/ 1441 w 10000"/>
                  <a:gd name="connsiteY5" fmla="*/ 0 h 10000"/>
                  <a:gd name="connsiteX6" fmla="*/ 518 w 10000"/>
                  <a:gd name="connsiteY6" fmla="*/ 46 h 10000"/>
                  <a:gd name="connsiteX7" fmla="*/ 0 w 10000"/>
                  <a:gd name="connsiteY7" fmla="*/ 2324 h 10000"/>
                  <a:gd name="connsiteX8" fmla="*/ 334 w 10000"/>
                  <a:gd name="connsiteY8" fmla="*/ 3095 h 10000"/>
                  <a:gd name="connsiteX9" fmla="*/ 3020 w 10000"/>
                  <a:gd name="connsiteY9" fmla="*/ 7697 h 10000"/>
                  <a:gd name="connsiteX10" fmla="*/ 3557 w 10000"/>
                  <a:gd name="connsiteY10" fmla="*/ 8462 h 10000"/>
                  <a:gd name="connsiteX11" fmla="*/ 4630 w 10000"/>
                  <a:gd name="connsiteY11" fmla="*/ 8462 h 10000"/>
                  <a:gd name="connsiteX12" fmla="*/ 5705 w 10000"/>
                  <a:gd name="connsiteY12" fmla="*/ 10000 h 10000"/>
                  <a:gd name="connsiteX13" fmla="*/ 6776 w 10000"/>
                  <a:gd name="connsiteY13" fmla="*/ 10000 h 10000"/>
                  <a:gd name="connsiteX14" fmla="*/ 8389 w 10000"/>
                  <a:gd name="connsiteY14" fmla="*/ 9235 h 10000"/>
                  <a:gd name="connsiteX15" fmla="*/ 8925 w 10000"/>
                  <a:gd name="connsiteY15" fmla="*/ 8462 h 10000"/>
                  <a:gd name="connsiteX16" fmla="*/ 10000 w 10000"/>
                  <a:gd name="connsiteY16" fmla="*/ 8462 h 10000"/>
                  <a:gd name="connsiteX17" fmla="*/ 10000 w 10000"/>
                  <a:gd name="connsiteY17" fmla="*/ 7697 h 10000"/>
                  <a:gd name="connsiteX18" fmla="*/ 9462 w 10000"/>
                  <a:gd name="connsiteY18" fmla="*/ 6927 h 10000"/>
                  <a:gd name="connsiteX19" fmla="*/ 8389 w 10000"/>
                  <a:gd name="connsiteY19" fmla="*/ 4627 h 10000"/>
                  <a:gd name="connsiteX20" fmla="*/ 7853 w 10000"/>
                  <a:gd name="connsiteY20" fmla="*/ 3860 h 10000"/>
                  <a:gd name="connsiteX21" fmla="*/ 7853 w 10000"/>
                  <a:gd name="connsiteY21" fmla="*/ 3095 h 10000"/>
                  <a:gd name="connsiteX22" fmla="*/ 8389 w 10000"/>
                  <a:gd name="connsiteY22" fmla="*/ 3095 h 10000"/>
                  <a:gd name="connsiteX23" fmla="*/ 8925 w 10000"/>
                  <a:gd name="connsiteY23" fmla="*/ 20 h 10000"/>
                  <a:gd name="connsiteX0" fmla="*/ 8925 w 10000"/>
                  <a:gd name="connsiteY0" fmla="*/ 2603 h 12583"/>
                  <a:gd name="connsiteX1" fmla="*/ 6969 w 10000"/>
                  <a:gd name="connsiteY1" fmla="*/ 0 h 12583"/>
                  <a:gd name="connsiteX2" fmla="*/ 6008 w 10000"/>
                  <a:gd name="connsiteY2" fmla="*/ 3725 h 12583"/>
                  <a:gd name="connsiteX3" fmla="*/ 4973 w 10000"/>
                  <a:gd name="connsiteY3" fmla="*/ 2733 h 12583"/>
                  <a:gd name="connsiteX4" fmla="*/ 1830 w 10000"/>
                  <a:gd name="connsiteY4" fmla="*/ 3929 h 12583"/>
                  <a:gd name="connsiteX5" fmla="*/ 1441 w 10000"/>
                  <a:gd name="connsiteY5" fmla="*/ 2583 h 12583"/>
                  <a:gd name="connsiteX6" fmla="*/ 518 w 10000"/>
                  <a:gd name="connsiteY6" fmla="*/ 2629 h 12583"/>
                  <a:gd name="connsiteX7" fmla="*/ 0 w 10000"/>
                  <a:gd name="connsiteY7" fmla="*/ 4907 h 12583"/>
                  <a:gd name="connsiteX8" fmla="*/ 334 w 10000"/>
                  <a:gd name="connsiteY8" fmla="*/ 5678 h 12583"/>
                  <a:gd name="connsiteX9" fmla="*/ 3020 w 10000"/>
                  <a:gd name="connsiteY9" fmla="*/ 10280 h 12583"/>
                  <a:gd name="connsiteX10" fmla="*/ 3557 w 10000"/>
                  <a:gd name="connsiteY10" fmla="*/ 11045 h 12583"/>
                  <a:gd name="connsiteX11" fmla="*/ 4630 w 10000"/>
                  <a:gd name="connsiteY11" fmla="*/ 11045 h 12583"/>
                  <a:gd name="connsiteX12" fmla="*/ 5705 w 10000"/>
                  <a:gd name="connsiteY12" fmla="*/ 12583 h 12583"/>
                  <a:gd name="connsiteX13" fmla="*/ 6776 w 10000"/>
                  <a:gd name="connsiteY13" fmla="*/ 12583 h 12583"/>
                  <a:gd name="connsiteX14" fmla="*/ 8389 w 10000"/>
                  <a:gd name="connsiteY14" fmla="*/ 11818 h 12583"/>
                  <a:gd name="connsiteX15" fmla="*/ 8925 w 10000"/>
                  <a:gd name="connsiteY15" fmla="*/ 11045 h 12583"/>
                  <a:gd name="connsiteX16" fmla="*/ 10000 w 10000"/>
                  <a:gd name="connsiteY16" fmla="*/ 11045 h 12583"/>
                  <a:gd name="connsiteX17" fmla="*/ 10000 w 10000"/>
                  <a:gd name="connsiteY17" fmla="*/ 10280 h 12583"/>
                  <a:gd name="connsiteX18" fmla="*/ 9462 w 10000"/>
                  <a:gd name="connsiteY18" fmla="*/ 9510 h 12583"/>
                  <a:gd name="connsiteX19" fmla="*/ 8389 w 10000"/>
                  <a:gd name="connsiteY19" fmla="*/ 7210 h 12583"/>
                  <a:gd name="connsiteX20" fmla="*/ 7853 w 10000"/>
                  <a:gd name="connsiteY20" fmla="*/ 6443 h 12583"/>
                  <a:gd name="connsiteX21" fmla="*/ 7853 w 10000"/>
                  <a:gd name="connsiteY21" fmla="*/ 5678 h 12583"/>
                  <a:gd name="connsiteX22" fmla="*/ 8389 w 10000"/>
                  <a:gd name="connsiteY22" fmla="*/ 5678 h 12583"/>
                  <a:gd name="connsiteX23" fmla="*/ 8925 w 10000"/>
                  <a:gd name="connsiteY23" fmla="*/ 2603 h 12583"/>
                  <a:gd name="connsiteX0" fmla="*/ 8925 w 10000"/>
                  <a:gd name="connsiteY0" fmla="*/ 2603 h 12583"/>
                  <a:gd name="connsiteX1" fmla="*/ 8227 w 10000"/>
                  <a:gd name="connsiteY1" fmla="*/ 1739 h 12583"/>
                  <a:gd name="connsiteX2" fmla="*/ 6969 w 10000"/>
                  <a:gd name="connsiteY2" fmla="*/ 0 h 12583"/>
                  <a:gd name="connsiteX3" fmla="*/ 6008 w 10000"/>
                  <a:gd name="connsiteY3" fmla="*/ 3725 h 12583"/>
                  <a:gd name="connsiteX4" fmla="*/ 4973 w 10000"/>
                  <a:gd name="connsiteY4" fmla="*/ 2733 h 12583"/>
                  <a:gd name="connsiteX5" fmla="*/ 1830 w 10000"/>
                  <a:gd name="connsiteY5" fmla="*/ 3929 h 12583"/>
                  <a:gd name="connsiteX6" fmla="*/ 1441 w 10000"/>
                  <a:gd name="connsiteY6" fmla="*/ 2583 h 12583"/>
                  <a:gd name="connsiteX7" fmla="*/ 518 w 10000"/>
                  <a:gd name="connsiteY7" fmla="*/ 2629 h 12583"/>
                  <a:gd name="connsiteX8" fmla="*/ 0 w 10000"/>
                  <a:gd name="connsiteY8" fmla="*/ 4907 h 12583"/>
                  <a:gd name="connsiteX9" fmla="*/ 334 w 10000"/>
                  <a:gd name="connsiteY9" fmla="*/ 5678 h 12583"/>
                  <a:gd name="connsiteX10" fmla="*/ 3020 w 10000"/>
                  <a:gd name="connsiteY10" fmla="*/ 10280 h 12583"/>
                  <a:gd name="connsiteX11" fmla="*/ 3557 w 10000"/>
                  <a:gd name="connsiteY11" fmla="*/ 11045 h 12583"/>
                  <a:gd name="connsiteX12" fmla="*/ 4630 w 10000"/>
                  <a:gd name="connsiteY12" fmla="*/ 11045 h 12583"/>
                  <a:gd name="connsiteX13" fmla="*/ 5705 w 10000"/>
                  <a:gd name="connsiteY13" fmla="*/ 12583 h 12583"/>
                  <a:gd name="connsiteX14" fmla="*/ 6776 w 10000"/>
                  <a:gd name="connsiteY14" fmla="*/ 12583 h 12583"/>
                  <a:gd name="connsiteX15" fmla="*/ 8389 w 10000"/>
                  <a:gd name="connsiteY15" fmla="*/ 11818 h 12583"/>
                  <a:gd name="connsiteX16" fmla="*/ 8925 w 10000"/>
                  <a:gd name="connsiteY16" fmla="*/ 11045 h 12583"/>
                  <a:gd name="connsiteX17" fmla="*/ 10000 w 10000"/>
                  <a:gd name="connsiteY17" fmla="*/ 11045 h 12583"/>
                  <a:gd name="connsiteX18" fmla="*/ 10000 w 10000"/>
                  <a:gd name="connsiteY18" fmla="*/ 10280 h 12583"/>
                  <a:gd name="connsiteX19" fmla="*/ 9462 w 10000"/>
                  <a:gd name="connsiteY19" fmla="*/ 9510 h 12583"/>
                  <a:gd name="connsiteX20" fmla="*/ 8389 w 10000"/>
                  <a:gd name="connsiteY20" fmla="*/ 7210 h 12583"/>
                  <a:gd name="connsiteX21" fmla="*/ 7853 w 10000"/>
                  <a:gd name="connsiteY21" fmla="*/ 6443 h 12583"/>
                  <a:gd name="connsiteX22" fmla="*/ 7853 w 10000"/>
                  <a:gd name="connsiteY22" fmla="*/ 5678 h 12583"/>
                  <a:gd name="connsiteX23" fmla="*/ 8389 w 10000"/>
                  <a:gd name="connsiteY23" fmla="*/ 5678 h 12583"/>
                  <a:gd name="connsiteX24" fmla="*/ 8925 w 10000"/>
                  <a:gd name="connsiteY24" fmla="*/ 2603 h 12583"/>
                  <a:gd name="connsiteX0" fmla="*/ 8925 w 10000"/>
                  <a:gd name="connsiteY0" fmla="*/ 2603 h 12583"/>
                  <a:gd name="connsiteX1" fmla="*/ 7561 w 10000"/>
                  <a:gd name="connsiteY1" fmla="*/ 1 h 12583"/>
                  <a:gd name="connsiteX2" fmla="*/ 6969 w 10000"/>
                  <a:gd name="connsiteY2" fmla="*/ 0 h 12583"/>
                  <a:gd name="connsiteX3" fmla="*/ 6008 w 10000"/>
                  <a:gd name="connsiteY3" fmla="*/ 3725 h 12583"/>
                  <a:gd name="connsiteX4" fmla="*/ 4973 w 10000"/>
                  <a:gd name="connsiteY4" fmla="*/ 2733 h 12583"/>
                  <a:gd name="connsiteX5" fmla="*/ 1830 w 10000"/>
                  <a:gd name="connsiteY5" fmla="*/ 3929 h 12583"/>
                  <a:gd name="connsiteX6" fmla="*/ 1441 w 10000"/>
                  <a:gd name="connsiteY6" fmla="*/ 2583 h 12583"/>
                  <a:gd name="connsiteX7" fmla="*/ 518 w 10000"/>
                  <a:gd name="connsiteY7" fmla="*/ 2629 h 12583"/>
                  <a:gd name="connsiteX8" fmla="*/ 0 w 10000"/>
                  <a:gd name="connsiteY8" fmla="*/ 4907 h 12583"/>
                  <a:gd name="connsiteX9" fmla="*/ 334 w 10000"/>
                  <a:gd name="connsiteY9" fmla="*/ 5678 h 12583"/>
                  <a:gd name="connsiteX10" fmla="*/ 3020 w 10000"/>
                  <a:gd name="connsiteY10" fmla="*/ 10280 h 12583"/>
                  <a:gd name="connsiteX11" fmla="*/ 3557 w 10000"/>
                  <a:gd name="connsiteY11" fmla="*/ 11045 h 12583"/>
                  <a:gd name="connsiteX12" fmla="*/ 4630 w 10000"/>
                  <a:gd name="connsiteY12" fmla="*/ 11045 h 12583"/>
                  <a:gd name="connsiteX13" fmla="*/ 5705 w 10000"/>
                  <a:gd name="connsiteY13" fmla="*/ 12583 h 12583"/>
                  <a:gd name="connsiteX14" fmla="*/ 6776 w 10000"/>
                  <a:gd name="connsiteY14" fmla="*/ 12583 h 12583"/>
                  <a:gd name="connsiteX15" fmla="*/ 8389 w 10000"/>
                  <a:gd name="connsiteY15" fmla="*/ 11818 h 12583"/>
                  <a:gd name="connsiteX16" fmla="*/ 8925 w 10000"/>
                  <a:gd name="connsiteY16" fmla="*/ 11045 h 12583"/>
                  <a:gd name="connsiteX17" fmla="*/ 10000 w 10000"/>
                  <a:gd name="connsiteY17" fmla="*/ 11045 h 12583"/>
                  <a:gd name="connsiteX18" fmla="*/ 10000 w 10000"/>
                  <a:gd name="connsiteY18" fmla="*/ 10280 h 12583"/>
                  <a:gd name="connsiteX19" fmla="*/ 9462 w 10000"/>
                  <a:gd name="connsiteY19" fmla="*/ 9510 h 12583"/>
                  <a:gd name="connsiteX20" fmla="*/ 8389 w 10000"/>
                  <a:gd name="connsiteY20" fmla="*/ 7210 h 12583"/>
                  <a:gd name="connsiteX21" fmla="*/ 7853 w 10000"/>
                  <a:gd name="connsiteY21" fmla="*/ 6443 h 12583"/>
                  <a:gd name="connsiteX22" fmla="*/ 7853 w 10000"/>
                  <a:gd name="connsiteY22" fmla="*/ 5678 h 12583"/>
                  <a:gd name="connsiteX23" fmla="*/ 8389 w 10000"/>
                  <a:gd name="connsiteY23" fmla="*/ 5678 h 12583"/>
                  <a:gd name="connsiteX24" fmla="*/ 8925 w 10000"/>
                  <a:gd name="connsiteY24" fmla="*/ 2603 h 12583"/>
                  <a:gd name="connsiteX0" fmla="*/ 8925 w 10000"/>
                  <a:gd name="connsiteY0" fmla="*/ 2602 h 12582"/>
                  <a:gd name="connsiteX1" fmla="*/ 7561 w 10000"/>
                  <a:gd name="connsiteY1" fmla="*/ 0 h 12582"/>
                  <a:gd name="connsiteX2" fmla="*/ 6821 w 10000"/>
                  <a:gd name="connsiteY2" fmla="*/ 496 h 12582"/>
                  <a:gd name="connsiteX3" fmla="*/ 6008 w 10000"/>
                  <a:gd name="connsiteY3" fmla="*/ 3724 h 12582"/>
                  <a:gd name="connsiteX4" fmla="*/ 4973 w 10000"/>
                  <a:gd name="connsiteY4" fmla="*/ 2732 h 12582"/>
                  <a:gd name="connsiteX5" fmla="*/ 1830 w 10000"/>
                  <a:gd name="connsiteY5" fmla="*/ 3928 h 12582"/>
                  <a:gd name="connsiteX6" fmla="*/ 1441 w 10000"/>
                  <a:gd name="connsiteY6" fmla="*/ 2582 h 12582"/>
                  <a:gd name="connsiteX7" fmla="*/ 518 w 10000"/>
                  <a:gd name="connsiteY7" fmla="*/ 2628 h 12582"/>
                  <a:gd name="connsiteX8" fmla="*/ 0 w 10000"/>
                  <a:gd name="connsiteY8" fmla="*/ 4906 h 12582"/>
                  <a:gd name="connsiteX9" fmla="*/ 334 w 10000"/>
                  <a:gd name="connsiteY9" fmla="*/ 5677 h 12582"/>
                  <a:gd name="connsiteX10" fmla="*/ 3020 w 10000"/>
                  <a:gd name="connsiteY10" fmla="*/ 10279 h 12582"/>
                  <a:gd name="connsiteX11" fmla="*/ 3557 w 10000"/>
                  <a:gd name="connsiteY11" fmla="*/ 11044 h 12582"/>
                  <a:gd name="connsiteX12" fmla="*/ 4630 w 10000"/>
                  <a:gd name="connsiteY12" fmla="*/ 11044 h 12582"/>
                  <a:gd name="connsiteX13" fmla="*/ 5705 w 10000"/>
                  <a:gd name="connsiteY13" fmla="*/ 12582 h 12582"/>
                  <a:gd name="connsiteX14" fmla="*/ 6776 w 10000"/>
                  <a:gd name="connsiteY14" fmla="*/ 12582 h 12582"/>
                  <a:gd name="connsiteX15" fmla="*/ 8389 w 10000"/>
                  <a:gd name="connsiteY15" fmla="*/ 11817 h 12582"/>
                  <a:gd name="connsiteX16" fmla="*/ 8925 w 10000"/>
                  <a:gd name="connsiteY16" fmla="*/ 11044 h 12582"/>
                  <a:gd name="connsiteX17" fmla="*/ 10000 w 10000"/>
                  <a:gd name="connsiteY17" fmla="*/ 11044 h 12582"/>
                  <a:gd name="connsiteX18" fmla="*/ 10000 w 10000"/>
                  <a:gd name="connsiteY18" fmla="*/ 10279 h 12582"/>
                  <a:gd name="connsiteX19" fmla="*/ 9462 w 10000"/>
                  <a:gd name="connsiteY19" fmla="*/ 9509 h 12582"/>
                  <a:gd name="connsiteX20" fmla="*/ 8389 w 10000"/>
                  <a:gd name="connsiteY20" fmla="*/ 7209 h 12582"/>
                  <a:gd name="connsiteX21" fmla="*/ 7853 w 10000"/>
                  <a:gd name="connsiteY21" fmla="*/ 6442 h 12582"/>
                  <a:gd name="connsiteX22" fmla="*/ 7853 w 10000"/>
                  <a:gd name="connsiteY22" fmla="*/ 5677 h 12582"/>
                  <a:gd name="connsiteX23" fmla="*/ 8389 w 10000"/>
                  <a:gd name="connsiteY23" fmla="*/ 5677 h 12582"/>
                  <a:gd name="connsiteX24" fmla="*/ 8925 w 10000"/>
                  <a:gd name="connsiteY24" fmla="*/ 2602 h 12582"/>
                  <a:gd name="connsiteX0" fmla="*/ 8925 w 10000"/>
                  <a:gd name="connsiteY0" fmla="*/ 2602 h 12582"/>
                  <a:gd name="connsiteX1" fmla="*/ 8301 w 10000"/>
                  <a:gd name="connsiteY1" fmla="*/ 1365 h 12582"/>
                  <a:gd name="connsiteX2" fmla="*/ 7561 w 10000"/>
                  <a:gd name="connsiteY2" fmla="*/ 0 h 12582"/>
                  <a:gd name="connsiteX3" fmla="*/ 6821 w 10000"/>
                  <a:gd name="connsiteY3" fmla="*/ 496 h 12582"/>
                  <a:gd name="connsiteX4" fmla="*/ 6008 w 10000"/>
                  <a:gd name="connsiteY4" fmla="*/ 3724 h 12582"/>
                  <a:gd name="connsiteX5" fmla="*/ 4973 w 10000"/>
                  <a:gd name="connsiteY5" fmla="*/ 2732 h 12582"/>
                  <a:gd name="connsiteX6" fmla="*/ 1830 w 10000"/>
                  <a:gd name="connsiteY6" fmla="*/ 3928 h 12582"/>
                  <a:gd name="connsiteX7" fmla="*/ 1441 w 10000"/>
                  <a:gd name="connsiteY7" fmla="*/ 2582 h 12582"/>
                  <a:gd name="connsiteX8" fmla="*/ 518 w 10000"/>
                  <a:gd name="connsiteY8" fmla="*/ 2628 h 12582"/>
                  <a:gd name="connsiteX9" fmla="*/ 0 w 10000"/>
                  <a:gd name="connsiteY9" fmla="*/ 4906 h 12582"/>
                  <a:gd name="connsiteX10" fmla="*/ 334 w 10000"/>
                  <a:gd name="connsiteY10" fmla="*/ 5677 h 12582"/>
                  <a:gd name="connsiteX11" fmla="*/ 3020 w 10000"/>
                  <a:gd name="connsiteY11" fmla="*/ 10279 h 12582"/>
                  <a:gd name="connsiteX12" fmla="*/ 3557 w 10000"/>
                  <a:gd name="connsiteY12" fmla="*/ 11044 h 12582"/>
                  <a:gd name="connsiteX13" fmla="*/ 4630 w 10000"/>
                  <a:gd name="connsiteY13" fmla="*/ 11044 h 12582"/>
                  <a:gd name="connsiteX14" fmla="*/ 5705 w 10000"/>
                  <a:gd name="connsiteY14" fmla="*/ 12582 h 12582"/>
                  <a:gd name="connsiteX15" fmla="*/ 6776 w 10000"/>
                  <a:gd name="connsiteY15" fmla="*/ 12582 h 12582"/>
                  <a:gd name="connsiteX16" fmla="*/ 8389 w 10000"/>
                  <a:gd name="connsiteY16" fmla="*/ 11817 h 12582"/>
                  <a:gd name="connsiteX17" fmla="*/ 8925 w 10000"/>
                  <a:gd name="connsiteY17" fmla="*/ 11044 h 12582"/>
                  <a:gd name="connsiteX18" fmla="*/ 10000 w 10000"/>
                  <a:gd name="connsiteY18" fmla="*/ 11044 h 12582"/>
                  <a:gd name="connsiteX19" fmla="*/ 10000 w 10000"/>
                  <a:gd name="connsiteY19" fmla="*/ 10279 h 12582"/>
                  <a:gd name="connsiteX20" fmla="*/ 9462 w 10000"/>
                  <a:gd name="connsiteY20" fmla="*/ 9509 h 12582"/>
                  <a:gd name="connsiteX21" fmla="*/ 8389 w 10000"/>
                  <a:gd name="connsiteY21" fmla="*/ 7209 h 12582"/>
                  <a:gd name="connsiteX22" fmla="*/ 7853 w 10000"/>
                  <a:gd name="connsiteY22" fmla="*/ 6442 h 12582"/>
                  <a:gd name="connsiteX23" fmla="*/ 7853 w 10000"/>
                  <a:gd name="connsiteY23" fmla="*/ 5677 h 12582"/>
                  <a:gd name="connsiteX24" fmla="*/ 8389 w 10000"/>
                  <a:gd name="connsiteY24" fmla="*/ 5677 h 12582"/>
                  <a:gd name="connsiteX25" fmla="*/ 8925 w 10000"/>
                  <a:gd name="connsiteY25" fmla="*/ 2602 h 12582"/>
                  <a:gd name="connsiteX0" fmla="*/ 8925 w 10000"/>
                  <a:gd name="connsiteY0" fmla="*/ 2602 h 12582"/>
                  <a:gd name="connsiteX1" fmla="*/ 8301 w 10000"/>
                  <a:gd name="connsiteY1" fmla="*/ 3476 h 12582"/>
                  <a:gd name="connsiteX2" fmla="*/ 7561 w 10000"/>
                  <a:gd name="connsiteY2" fmla="*/ 0 h 12582"/>
                  <a:gd name="connsiteX3" fmla="*/ 6821 w 10000"/>
                  <a:gd name="connsiteY3" fmla="*/ 496 h 12582"/>
                  <a:gd name="connsiteX4" fmla="*/ 6008 w 10000"/>
                  <a:gd name="connsiteY4" fmla="*/ 3724 h 12582"/>
                  <a:gd name="connsiteX5" fmla="*/ 4973 w 10000"/>
                  <a:gd name="connsiteY5" fmla="*/ 2732 h 12582"/>
                  <a:gd name="connsiteX6" fmla="*/ 1830 w 10000"/>
                  <a:gd name="connsiteY6" fmla="*/ 3928 h 12582"/>
                  <a:gd name="connsiteX7" fmla="*/ 1441 w 10000"/>
                  <a:gd name="connsiteY7" fmla="*/ 2582 h 12582"/>
                  <a:gd name="connsiteX8" fmla="*/ 518 w 10000"/>
                  <a:gd name="connsiteY8" fmla="*/ 2628 h 12582"/>
                  <a:gd name="connsiteX9" fmla="*/ 0 w 10000"/>
                  <a:gd name="connsiteY9" fmla="*/ 4906 h 12582"/>
                  <a:gd name="connsiteX10" fmla="*/ 334 w 10000"/>
                  <a:gd name="connsiteY10" fmla="*/ 5677 h 12582"/>
                  <a:gd name="connsiteX11" fmla="*/ 3020 w 10000"/>
                  <a:gd name="connsiteY11" fmla="*/ 10279 h 12582"/>
                  <a:gd name="connsiteX12" fmla="*/ 3557 w 10000"/>
                  <a:gd name="connsiteY12" fmla="*/ 11044 h 12582"/>
                  <a:gd name="connsiteX13" fmla="*/ 4630 w 10000"/>
                  <a:gd name="connsiteY13" fmla="*/ 11044 h 12582"/>
                  <a:gd name="connsiteX14" fmla="*/ 5705 w 10000"/>
                  <a:gd name="connsiteY14" fmla="*/ 12582 h 12582"/>
                  <a:gd name="connsiteX15" fmla="*/ 6776 w 10000"/>
                  <a:gd name="connsiteY15" fmla="*/ 12582 h 12582"/>
                  <a:gd name="connsiteX16" fmla="*/ 8389 w 10000"/>
                  <a:gd name="connsiteY16" fmla="*/ 11817 h 12582"/>
                  <a:gd name="connsiteX17" fmla="*/ 8925 w 10000"/>
                  <a:gd name="connsiteY17" fmla="*/ 11044 h 12582"/>
                  <a:gd name="connsiteX18" fmla="*/ 10000 w 10000"/>
                  <a:gd name="connsiteY18" fmla="*/ 11044 h 12582"/>
                  <a:gd name="connsiteX19" fmla="*/ 10000 w 10000"/>
                  <a:gd name="connsiteY19" fmla="*/ 10279 h 12582"/>
                  <a:gd name="connsiteX20" fmla="*/ 9462 w 10000"/>
                  <a:gd name="connsiteY20" fmla="*/ 9509 h 12582"/>
                  <a:gd name="connsiteX21" fmla="*/ 8389 w 10000"/>
                  <a:gd name="connsiteY21" fmla="*/ 7209 h 12582"/>
                  <a:gd name="connsiteX22" fmla="*/ 7853 w 10000"/>
                  <a:gd name="connsiteY22" fmla="*/ 6442 h 12582"/>
                  <a:gd name="connsiteX23" fmla="*/ 7853 w 10000"/>
                  <a:gd name="connsiteY23" fmla="*/ 5677 h 12582"/>
                  <a:gd name="connsiteX24" fmla="*/ 8389 w 10000"/>
                  <a:gd name="connsiteY24" fmla="*/ 5677 h 12582"/>
                  <a:gd name="connsiteX25" fmla="*/ 8925 w 10000"/>
                  <a:gd name="connsiteY25" fmla="*/ 2602 h 12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0000" h="12582">
                    <a:moveTo>
                      <a:pt x="8925" y="2602"/>
                    </a:moveTo>
                    <a:lnTo>
                      <a:pt x="8301" y="3476"/>
                    </a:lnTo>
                    <a:lnTo>
                      <a:pt x="7561" y="0"/>
                    </a:lnTo>
                    <a:lnTo>
                      <a:pt x="6821" y="496"/>
                    </a:lnTo>
                    <a:lnTo>
                      <a:pt x="6008" y="3724"/>
                    </a:lnTo>
                    <a:lnTo>
                      <a:pt x="4973" y="2732"/>
                    </a:lnTo>
                    <a:lnTo>
                      <a:pt x="1830" y="3928"/>
                    </a:lnTo>
                    <a:lnTo>
                      <a:pt x="1441" y="2582"/>
                    </a:lnTo>
                    <a:lnTo>
                      <a:pt x="518" y="2628"/>
                    </a:lnTo>
                    <a:cubicBezTo>
                      <a:pt x="345" y="3387"/>
                      <a:pt x="173" y="4147"/>
                      <a:pt x="0" y="4906"/>
                    </a:cubicBezTo>
                    <a:cubicBezTo>
                      <a:pt x="112" y="5163"/>
                      <a:pt x="222" y="5420"/>
                      <a:pt x="334" y="5677"/>
                    </a:cubicBezTo>
                    <a:lnTo>
                      <a:pt x="3020" y="10279"/>
                    </a:lnTo>
                    <a:lnTo>
                      <a:pt x="3557" y="11044"/>
                    </a:lnTo>
                    <a:lnTo>
                      <a:pt x="4630" y="11044"/>
                    </a:lnTo>
                    <a:lnTo>
                      <a:pt x="5705" y="12582"/>
                    </a:lnTo>
                    <a:lnTo>
                      <a:pt x="6776" y="12582"/>
                    </a:lnTo>
                    <a:lnTo>
                      <a:pt x="8389" y="11817"/>
                    </a:lnTo>
                    <a:lnTo>
                      <a:pt x="8925" y="11044"/>
                    </a:lnTo>
                    <a:lnTo>
                      <a:pt x="10000" y="11044"/>
                    </a:lnTo>
                    <a:lnTo>
                      <a:pt x="10000" y="10279"/>
                    </a:lnTo>
                    <a:lnTo>
                      <a:pt x="9462" y="9509"/>
                    </a:lnTo>
                    <a:lnTo>
                      <a:pt x="8389" y="7209"/>
                    </a:lnTo>
                    <a:lnTo>
                      <a:pt x="7853" y="6442"/>
                    </a:lnTo>
                    <a:lnTo>
                      <a:pt x="7853" y="5677"/>
                    </a:lnTo>
                    <a:lnTo>
                      <a:pt x="8389" y="5677"/>
                    </a:lnTo>
                    <a:cubicBezTo>
                      <a:pt x="8567" y="4652"/>
                      <a:pt x="8747" y="3627"/>
                      <a:pt x="8925" y="2602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1" name="Freeform 35">
                <a:extLst>
                  <a:ext uri="{FF2B5EF4-FFF2-40B4-BE49-F238E27FC236}">
                    <a16:creationId xmlns:a16="http://schemas.microsoft.com/office/drawing/2014/main" id="{92F08DA2-1A3D-985A-99FE-5CF72F1C1C33}"/>
                  </a:ext>
                </a:extLst>
              </p:cNvPr>
              <p:cNvSpPr>
                <a:spLocks/>
              </p:cNvSpPr>
              <p:nvPr>
                <p:custDataLst>
                  <p:tags r:id="rId323"/>
                </p:custDataLst>
              </p:nvPr>
            </p:nvSpPr>
            <p:spPr bwMode="auto">
              <a:xfrm>
                <a:off x="6392864" y="4495007"/>
                <a:ext cx="1801474" cy="1553192"/>
              </a:xfrm>
              <a:custGeom>
                <a:avLst/>
                <a:gdLst>
                  <a:gd name="T0" fmla="*/ 414867 w 216"/>
                  <a:gd name="T1" fmla="*/ 250182 h 296"/>
                  <a:gd name="T2" fmla="*/ 432153 w 216"/>
                  <a:gd name="T3" fmla="*/ 176599 h 296"/>
                  <a:gd name="T4" fmla="*/ 466725 w 216"/>
                  <a:gd name="T5" fmla="*/ 161882 h 296"/>
                  <a:gd name="T6" fmla="*/ 466725 w 216"/>
                  <a:gd name="T7" fmla="*/ 147166 h 296"/>
                  <a:gd name="T8" fmla="*/ 449439 w 216"/>
                  <a:gd name="T9" fmla="*/ 132449 h 296"/>
                  <a:gd name="T10" fmla="*/ 414867 w 216"/>
                  <a:gd name="T11" fmla="*/ 29433 h 296"/>
                  <a:gd name="T12" fmla="*/ 380294 w 216"/>
                  <a:gd name="T13" fmla="*/ 14717 h 296"/>
                  <a:gd name="T14" fmla="*/ 380294 w 216"/>
                  <a:gd name="T15" fmla="*/ 0 h 296"/>
                  <a:gd name="T16" fmla="*/ 345722 w 216"/>
                  <a:gd name="T17" fmla="*/ 29433 h 296"/>
                  <a:gd name="T18" fmla="*/ 311150 w 216"/>
                  <a:gd name="T19" fmla="*/ 29433 h 296"/>
                  <a:gd name="T20" fmla="*/ 86431 w 216"/>
                  <a:gd name="T21" fmla="*/ 29433 h 296"/>
                  <a:gd name="T22" fmla="*/ 86431 w 216"/>
                  <a:gd name="T23" fmla="*/ 88299 h 296"/>
                  <a:gd name="T24" fmla="*/ 51858 w 216"/>
                  <a:gd name="T25" fmla="*/ 88299 h 296"/>
                  <a:gd name="T26" fmla="*/ 51858 w 216"/>
                  <a:gd name="T27" fmla="*/ 103016 h 296"/>
                  <a:gd name="T28" fmla="*/ 51858 w 216"/>
                  <a:gd name="T29" fmla="*/ 191315 h 296"/>
                  <a:gd name="T30" fmla="*/ 51858 w 216"/>
                  <a:gd name="T31" fmla="*/ 206032 h 296"/>
                  <a:gd name="T32" fmla="*/ 34572 w 216"/>
                  <a:gd name="T33" fmla="*/ 206032 h 296"/>
                  <a:gd name="T34" fmla="*/ 0 w 216"/>
                  <a:gd name="T35" fmla="*/ 279615 h 296"/>
                  <a:gd name="T36" fmla="*/ 34572 w 216"/>
                  <a:gd name="T37" fmla="*/ 323764 h 296"/>
                  <a:gd name="T38" fmla="*/ 17286 w 216"/>
                  <a:gd name="T39" fmla="*/ 338481 h 296"/>
                  <a:gd name="T40" fmla="*/ 51858 w 216"/>
                  <a:gd name="T41" fmla="*/ 367914 h 296"/>
                  <a:gd name="T42" fmla="*/ 51858 w 216"/>
                  <a:gd name="T43" fmla="*/ 397347 h 296"/>
                  <a:gd name="T44" fmla="*/ 86431 w 216"/>
                  <a:gd name="T45" fmla="*/ 412064 h 296"/>
                  <a:gd name="T46" fmla="*/ 172861 w 216"/>
                  <a:gd name="T47" fmla="*/ 500363 h 296"/>
                  <a:gd name="T48" fmla="*/ 190147 w 216"/>
                  <a:gd name="T49" fmla="*/ 515080 h 296"/>
                  <a:gd name="T50" fmla="*/ 224719 w 216"/>
                  <a:gd name="T51" fmla="*/ 515080 h 296"/>
                  <a:gd name="T52" fmla="*/ 259292 w 216"/>
                  <a:gd name="T53" fmla="*/ 544513 h 296"/>
                  <a:gd name="T54" fmla="*/ 293864 w 216"/>
                  <a:gd name="T55" fmla="*/ 544513 h 296"/>
                  <a:gd name="T56" fmla="*/ 345722 w 216"/>
                  <a:gd name="T57" fmla="*/ 529796 h 296"/>
                  <a:gd name="T58" fmla="*/ 363008 w 216"/>
                  <a:gd name="T59" fmla="*/ 515080 h 296"/>
                  <a:gd name="T60" fmla="*/ 397581 w 216"/>
                  <a:gd name="T61" fmla="*/ 515080 h 296"/>
                  <a:gd name="T62" fmla="*/ 397581 w 216"/>
                  <a:gd name="T63" fmla="*/ 500363 h 296"/>
                  <a:gd name="T64" fmla="*/ 380294 w 216"/>
                  <a:gd name="T65" fmla="*/ 485647 h 296"/>
                  <a:gd name="T66" fmla="*/ 345722 w 216"/>
                  <a:gd name="T67" fmla="*/ 441497 h 296"/>
                  <a:gd name="T68" fmla="*/ 328436 w 216"/>
                  <a:gd name="T69" fmla="*/ 426780 h 296"/>
                  <a:gd name="T70" fmla="*/ 328436 w 216"/>
                  <a:gd name="T71" fmla="*/ 412064 h 296"/>
                  <a:gd name="T72" fmla="*/ 345722 w 216"/>
                  <a:gd name="T73" fmla="*/ 412064 h 296"/>
                  <a:gd name="T74" fmla="*/ 363008 w 216"/>
                  <a:gd name="T75" fmla="*/ 353198 h 296"/>
                  <a:gd name="T76" fmla="*/ 414867 w 216"/>
                  <a:gd name="T77" fmla="*/ 279615 h 296"/>
                  <a:gd name="T78" fmla="*/ 414867 w 216"/>
                  <a:gd name="T79" fmla="*/ 250182 h 29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16"/>
                  <a:gd name="T121" fmla="*/ 0 h 296"/>
                  <a:gd name="T122" fmla="*/ 216 w 216"/>
                  <a:gd name="T123" fmla="*/ 296 h 296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6296 w 10000"/>
                  <a:gd name="connsiteY27" fmla="*/ 10000 h 10000"/>
                  <a:gd name="connsiteX28" fmla="*/ 7407 w 10000"/>
                  <a:gd name="connsiteY28" fmla="*/ 9730 h 10000"/>
                  <a:gd name="connsiteX29" fmla="*/ 7778 w 10000"/>
                  <a:gd name="connsiteY29" fmla="*/ 9459 h 10000"/>
                  <a:gd name="connsiteX30" fmla="*/ 8519 w 10000"/>
                  <a:gd name="connsiteY30" fmla="*/ 9189 h 10000"/>
                  <a:gd name="connsiteX31" fmla="*/ 8148 w 10000"/>
                  <a:gd name="connsiteY31" fmla="*/ 8919 h 10000"/>
                  <a:gd name="connsiteX32" fmla="*/ 7407 w 10000"/>
                  <a:gd name="connsiteY32" fmla="*/ 8108 h 10000"/>
                  <a:gd name="connsiteX33" fmla="*/ 7037 w 10000"/>
                  <a:gd name="connsiteY33" fmla="*/ 7838 h 10000"/>
                  <a:gd name="connsiteX34" fmla="*/ 7037 w 10000"/>
                  <a:gd name="connsiteY34" fmla="*/ 7568 h 10000"/>
                  <a:gd name="connsiteX35" fmla="*/ 7407 w 10000"/>
                  <a:gd name="connsiteY35" fmla="*/ 7568 h 10000"/>
                  <a:gd name="connsiteX36" fmla="*/ 7778 w 10000"/>
                  <a:gd name="connsiteY36" fmla="*/ 6486 h 10000"/>
                  <a:gd name="connsiteX37" fmla="*/ 8889 w 10000"/>
                  <a:gd name="connsiteY37" fmla="*/ 5135 h 10000"/>
                  <a:gd name="connsiteX38" fmla="*/ 8889 w 10000"/>
                  <a:gd name="connsiteY38" fmla="*/ 4595 h 10000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6296 w 10000"/>
                  <a:gd name="connsiteY27" fmla="*/ 10000 h 10000"/>
                  <a:gd name="connsiteX28" fmla="*/ 7407 w 10000"/>
                  <a:gd name="connsiteY28" fmla="*/ 9730 h 10000"/>
                  <a:gd name="connsiteX29" fmla="*/ 7778 w 10000"/>
                  <a:gd name="connsiteY29" fmla="*/ 9459 h 10000"/>
                  <a:gd name="connsiteX30" fmla="*/ 8148 w 10000"/>
                  <a:gd name="connsiteY30" fmla="*/ 8919 h 10000"/>
                  <a:gd name="connsiteX31" fmla="*/ 7407 w 10000"/>
                  <a:gd name="connsiteY31" fmla="*/ 8108 h 10000"/>
                  <a:gd name="connsiteX32" fmla="*/ 7037 w 10000"/>
                  <a:gd name="connsiteY32" fmla="*/ 7838 h 10000"/>
                  <a:gd name="connsiteX33" fmla="*/ 7037 w 10000"/>
                  <a:gd name="connsiteY33" fmla="*/ 7568 h 10000"/>
                  <a:gd name="connsiteX34" fmla="*/ 7407 w 10000"/>
                  <a:gd name="connsiteY34" fmla="*/ 7568 h 10000"/>
                  <a:gd name="connsiteX35" fmla="*/ 7778 w 10000"/>
                  <a:gd name="connsiteY35" fmla="*/ 6486 h 10000"/>
                  <a:gd name="connsiteX36" fmla="*/ 8889 w 10000"/>
                  <a:gd name="connsiteY36" fmla="*/ 5135 h 10000"/>
                  <a:gd name="connsiteX37" fmla="*/ 8889 w 10000"/>
                  <a:gd name="connsiteY37" fmla="*/ 4595 h 10000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6296 w 10000"/>
                  <a:gd name="connsiteY27" fmla="*/ 10000 h 10000"/>
                  <a:gd name="connsiteX28" fmla="*/ 7407 w 10000"/>
                  <a:gd name="connsiteY28" fmla="*/ 9730 h 10000"/>
                  <a:gd name="connsiteX29" fmla="*/ 7778 w 10000"/>
                  <a:gd name="connsiteY29" fmla="*/ 9459 h 10000"/>
                  <a:gd name="connsiteX30" fmla="*/ 7407 w 10000"/>
                  <a:gd name="connsiteY30" fmla="*/ 8108 h 10000"/>
                  <a:gd name="connsiteX31" fmla="*/ 7037 w 10000"/>
                  <a:gd name="connsiteY31" fmla="*/ 7838 h 10000"/>
                  <a:gd name="connsiteX32" fmla="*/ 7037 w 10000"/>
                  <a:gd name="connsiteY32" fmla="*/ 7568 h 10000"/>
                  <a:gd name="connsiteX33" fmla="*/ 7407 w 10000"/>
                  <a:gd name="connsiteY33" fmla="*/ 7568 h 10000"/>
                  <a:gd name="connsiteX34" fmla="*/ 7778 w 10000"/>
                  <a:gd name="connsiteY34" fmla="*/ 6486 h 10000"/>
                  <a:gd name="connsiteX35" fmla="*/ 8889 w 10000"/>
                  <a:gd name="connsiteY35" fmla="*/ 5135 h 10000"/>
                  <a:gd name="connsiteX36" fmla="*/ 8889 w 10000"/>
                  <a:gd name="connsiteY36" fmla="*/ 4595 h 10000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6296 w 10000"/>
                  <a:gd name="connsiteY27" fmla="*/ 10000 h 10000"/>
                  <a:gd name="connsiteX28" fmla="*/ 7407 w 10000"/>
                  <a:gd name="connsiteY28" fmla="*/ 9730 h 10000"/>
                  <a:gd name="connsiteX29" fmla="*/ 7407 w 10000"/>
                  <a:gd name="connsiteY29" fmla="*/ 8108 h 10000"/>
                  <a:gd name="connsiteX30" fmla="*/ 7037 w 10000"/>
                  <a:gd name="connsiteY30" fmla="*/ 7838 h 10000"/>
                  <a:gd name="connsiteX31" fmla="*/ 7037 w 10000"/>
                  <a:gd name="connsiteY31" fmla="*/ 7568 h 10000"/>
                  <a:gd name="connsiteX32" fmla="*/ 7407 w 10000"/>
                  <a:gd name="connsiteY32" fmla="*/ 7568 h 10000"/>
                  <a:gd name="connsiteX33" fmla="*/ 7778 w 10000"/>
                  <a:gd name="connsiteY33" fmla="*/ 6486 h 10000"/>
                  <a:gd name="connsiteX34" fmla="*/ 8889 w 10000"/>
                  <a:gd name="connsiteY34" fmla="*/ 5135 h 10000"/>
                  <a:gd name="connsiteX35" fmla="*/ 8889 w 10000"/>
                  <a:gd name="connsiteY35" fmla="*/ 4595 h 10000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6296 w 10000"/>
                  <a:gd name="connsiteY27" fmla="*/ 10000 h 10000"/>
                  <a:gd name="connsiteX28" fmla="*/ 7407 w 10000"/>
                  <a:gd name="connsiteY28" fmla="*/ 8108 h 10000"/>
                  <a:gd name="connsiteX29" fmla="*/ 7037 w 10000"/>
                  <a:gd name="connsiteY29" fmla="*/ 7838 h 10000"/>
                  <a:gd name="connsiteX30" fmla="*/ 7037 w 10000"/>
                  <a:gd name="connsiteY30" fmla="*/ 7568 h 10000"/>
                  <a:gd name="connsiteX31" fmla="*/ 7407 w 10000"/>
                  <a:gd name="connsiteY31" fmla="*/ 7568 h 10000"/>
                  <a:gd name="connsiteX32" fmla="*/ 7778 w 10000"/>
                  <a:gd name="connsiteY32" fmla="*/ 6486 h 10000"/>
                  <a:gd name="connsiteX33" fmla="*/ 8889 w 10000"/>
                  <a:gd name="connsiteY33" fmla="*/ 5135 h 10000"/>
                  <a:gd name="connsiteX34" fmla="*/ 8889 w 10000"/>
                  <a:gd name="connsiteY34" fmla="*/ 4595 h 10000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7407 w 10000"/>
                  <a:gd name="connsiteY27" fmla="*/ 8108 h 10000"/>
                  <a:gd name="connsiteX28" fmla="*/ 7037 w 10000"/>
                  <a:gd name="connsiteY28" fmla="*/ 7838 h 10000"/>
                  <a:gd name="connsiteX29" fmla="*/ 7037 w 10000"/>
                  <a:gd name="connsiteY29" fmla="*/ 7568 h 10000"/>
                  <a:gd name="connsiteX30" fmla="*/ 7407 w 10000"/>
                  <a:gd name="connsiteY30" fmla="*/ 7568 h 10000"/>
                  <a:gd name="connsiteX31" fmla="*/ 7778 w 10000"/>
                  <a:gd name="connsiteY31" fmla="*/ 6486 h 10000"/>
                  <a:gd name="connsiteX32" fmla="*/ 8889 w 10000"/>
                  <a:gd name="connsiteY32" fmla="*/ 5135 h 10000"/>
                  <a:gd name="connsiteX33" fmla="*/ 8889 w 10000"/>
                  <a:gd name="connsiteY33" fmla="*/ 4595 h 10000"/>
                  <a:gd name="connsiteX0" fmla="*/ 8889 w 10000"/>
                  <a:gd name="connsiteY0" fmla="*/ 4595 h 9459"/>
                  <a:gd name="connsiteX1" fmla="*/ 9259 w 10000"/>
                  <a:gd name="connsiteY1" fmla="*/ 3243 h 9459"/>
                  <a:gd name="connsiteX2" fmla="*/ 10000 w 10000"/>
                  <a:gd name="connsiteY2" fmla="*/ 2973 h 9459"/>
                  <a:gd name="connsiteX3" fmla="*/ 10000 w 10000"/>
                  <a:gd name="connsiteY3" fmla="*/ 2703 h 9459"/>
                  <a:gd name="connsiteX4" fmla="*/ 9630 w 10000"/>
                  <a:gd name="connsiteY4" fmla="*/ 2432 h 9459"/>
                  <a:gd name="connsiteX5" fmla="*/ 8889 w 10000"/>
                  <a:gd name="connsiteY5" fmla="*/ 541 h 9459"/>
                  <a:gd name="connsiteX6" fmla="*/ 8148 w 10000"/>
                  <a:gd name="connsiteY6" fmla="*/ 270 h 9459"/>
                  <a:gd name="connsiteX7" fmla="*/ 8148 w 10000"/>
                  <a:gd name="connsiteY7" fmla="*/ 0 h 9459"/>
                  <a:gd name="connsiteX8" fmla="*/ 7407 w 10000"/>
                  <a:gd name="connsiteY8" fmla="*/ 541 h 9459"/>
                  <a:gd name="connsiteX9" fmla="*/ 6667 w 10000"/>
                  <a:gd name="connsiteY9" fmla="*/ 541 h 9459"/>
                  <a:gd name="connsiteX10" fmla="*/ 1852 w 10000"/>
                  <a:gd name="connsiteY10" fmla="*/ 541 h 9459"/>
                  <a:gd name="connsiteX11" fmla="*/ 1852 w 10000"/>
                  <a:gd name="connsiteY11" fmla="*/ 1622 h 9459"/>
                  <a:gd name="connsiteX12" fmla="*/ 1111 w 10000"/>
                  <a:gd name="connsiteY12" fmla="*/ 1622 h 9459"/>
                  <a:gd name="connsiteX13" fmla="*/ 1111 w 10000"/>
                  <a:gd name="connsiteY13" fmla="*/ 1892 h 9459"/>
                  <a:gd name="connsiteX14" fmla="*/ 1111 w 10000"/>
                  <a:gd name="connsiteY14" fmla="*/ 3514 h 9459"/>
                  <a:gd name="connsiteX15" fmla="*/ 1111 w 10000"/>
                  <a:gd name="connsiteY15" fmla="*/ 3784 h 9459"/>
                  <a:gd name="connsiteX16" fmla="*/ 741 w 10000"/>
                  <a:gd name="connsiteY16" fmla="*/ 3784 h 9459"/>
                  <a:gd name="connsiteX17" fmla="*/ 0 w 10000"/>
                  <a:gd name="connsiteY17" fmla="*/ 5135 h 9459"/>
                  <a:gd name="connsiteX18" fmla="*/ 741 w 10000"/>
                  <a:gd name="connsiteY18" fmla="*/ 5946 h 9459"/>
                  <a:gd name="connsiteX19" fmla="*/ 370 w 10000"/>
                  <a:gd name="connsiteY19" fmla="*/ 6216 h 9459"/>
                  <a:gd name="connsiteX20" fmla="*/ 1111 w 10000"/>
                  <a:gd name="connsiteY20" fmla="*/ 6757 h 9459"/>
                  <a:gd name="connsiteX21" fmla="*/ 1111 w 10000"/>
                  <a:gd name="connsiteY21" fmla="*/ 7297 h 9459"/>
                  <a:gd name="connsiteX22" fmla="*/ 1852 w 10000"/>
                  <a:gd name="connsiteY22" fmla="*/ 7568 h 9459"/>
                  <a:gd name="connsiteX23" fmla="*/ 3704 w 10000"/>
                  <a:gd name="connsiteY23" fmla="*/ 9189 h 9459"/>
                  <a:gd name="connsiteX24" fmla="*/ 4074 w 10000"/>
                  <a:gd name="connsiteY24" fmla="*/ 9459 h 9459"/>
                  <a:gd name="connsiteX25" fmla="*/ 4815 w 10000"/>
                  <a:gd name="connsiteY25" fmla="*/ 9459 h 9459"/>
                  <a:gd name="connsiteX26" fmla="*/ 7407 w 10000"/>
                  <a:gd name="connsiteY26" fmla="*/ 8108 h 9459"/>
                  <a:gd name="connsiteX27" fmla="*/ 7037 w 10000"/>
                  <a:gd name="connsiteY27" fmla="*/ 7838 h 9459"/>
                  <a:gd name="connsiteX28" fmla="*/ 7037 w 10000"/>
                  <a:gd name="connsiteY28" fmla="*/ 7568 h 9459"/>
                  <a:gd name="connsiteX29" fmla="*/ 7407 w 10000"/>
                  <a:gd name="connsiteY29" fmla="*/ 7568 h 9459"/>
                  <a:gd name="connsiteX30" fmla="*/ 7778 w 10000"/>
                  <a:gd name="connsiteY30" fmla="*/ 6486 h 9459"/>
                  <a:gd name="connsiteX31" fmla="*/ 8889 w 10000"/>
                  <a:gd name="connsiteY31" fmla="*/ 5135 h 9459"/>
                  <a:gd name="connsiteX32" fmla="*/ 8889 w 10000"/>
                  <a:gd name="connsiteY32" fmla="*/ 4595 h 9459"/>
                  <a:gd name="connsiteX0" fmla="*/ 8889 w 10000"/>
                  <a:gd name="connsiteY0" fmla="*/ 4858 h 10000"/>
                  <a:gd name="connsiteX1" fmla="*/ 9259 w 10000"/>
                  <a:gd name="connsiteY1" fmla="*/ 3428 h 10000"/>
                  <a:gd name="connsiteX2" fmla="*/ 10000 w 10000"/>
                  <a:gd name="connsiteY2" fmla="*/ 3143 h 10000"/>
                  <a:gd name="connsiteX3" fmla="*/ 10000 w 10000"/>
                  <a:gd name="connsiteY3" fmla="*/ 2858 h 10000"/>
                  <a:gd name="connsiteX4" fmla="*/ 9630 w 10000"/>
                  <a:gd name="connsiteY4" fmla="*/ 2571 h 10000"/>
                  <a:gd name="connsiteX5" fmla="*/ 8889 w 10000"/>
                  <a:gd name="connsiteY5" fmla="*/ 572 h 10000"/>
                  <a:gd name="connsiteX6" fmla="*/ 8148 w 10000"/>
                  <a:gd name="connsiteY6" fmla="*/ 285 h 10000"/>
                  <a:gd name="connsiteX7" fmla="*/ 8148 w 10000"/>
                  <a:gd name="connsiteY7" fmla="*/ 0 h 10000"/>
                  <a:gd name="connsiteX8" fmla="*/ 7407 w 10000"/>
                  <a:gd name="connsiteY8" fmla="*/ 572 h 10000"/>
                  <a:gd name="connsiteX9" fmla="*/ 6667 w 10000"/>
                  <a:gd name="connsiteY9" fmla="*/ 572 h 10000"/>
                  <a:gd name="connsiteX10" fmla="*/ 1852 w 10000"/>
                  <a:gd name="connsiteY10" fmla="*/ 572 h 10000"/>
                  <a:gd name="connsiteX11" fmla="*/ 1852 w 10000"/>
                  <a:gd name="connsiteY11" fmla="*/ 1715 h 10000"/>
                  <a:gd name="connsiteX12" fmla="*/ 1111 w 10000"/>
                  <a:gd name="connsiteY12" fmla="*/ 1715 h 10000"/>
                  <a:gd name="connsiteX13" fmla="*/ 1111 w 10000"/>
                  <a:gd name="connsiteY13" fmla="*/ 2000 h 10000"/>
                  <a:gd name="connsiteX14" fmla="*/ 1111 w 10000"/>
                  <a:gd name="connsiteY14" fmla="*/ 3715 h 10000"/>
                  <a:gd name="connsiteX15" fmla="*/ 1111 w 10000"/>
                  <a:gd name="connsiteY15" fmla="*/ 4000 h 10000"/>
                  <a:gd name="connsiteX16" fmla="*/ 741 w 10000"/>
                  <a:gd name="connsiteY16" fmla="*/ 4000 h 10000"/>
                  <a:gd name="connsiteX17" fmla="*/ 0 w 10000"/>
                  <a:gd name="connsiteY17" fmla="*/ 5429 h 10000"/>
                  <a:gd name="connsiteX18" fmla="*/ 741 w 10000"/>
                  <a:gd name="connsiteY18" fmla="*/ 6286 h 10000"/>
                  <a:gd name="connsiteX19" fmla="*/ 370 w 10000"/>
                  <a:gd name="connsiteY19" fmla="*/ 6572 h 10000"/>
                  <a:gd name="connsiteX20" fmla="*/ 1111 w 10000"/>
                  <a:gd name="connsiteY20" fmla="*/ 7143 h 10000"/>
                  <a:gd name="connsiteX21" fmla="*/ 1111 w 10000"/>
                  <a:gd name="connsiteY21" fmla="*/ 7714 h 10000"/>
                  <a:gd name="connsiteX22" fmla="*/ 1852 w 10000"/>
                  <a:gd name="connsiteY22" fmla="*/ 8001 h 10000"/>
                  <a:gd name="connsiteX23" fmla="*/ 3704 w 10000"/>
                  <a:gd name="connsiteY23" fmla="*/ 9715 h 10000"/>
                  <a:gd name="connsiteX24" fmla="*/ 4074 w 10000"/>
                  <a:gd name="connsiteY24" fmla="*/ 10000 h 10000"/>
                  <a:gd name="connsiteX25" fmla="*/ 7407 w 10000"/>
                  <a:gd name="connsiteY25" fmla="*/ 8572 h 10000"/>
                  <a:gd name="connsiteX26" fmla="*/ 7037 w 10000"/>
                  <a:gd name="connsiteY26" fmla="*/ 8286 h 10000"/>
                  <a:gd name="connsiteX27" fmla="*/ 7037 w 10000"/>
                  <a:gd name="connsiteY27" fmla="*/ 8001 h 10000"/>
                  <a:gd name="connsiteX28" fmla="*/ 7407 w 10000"/>
                  <a:gd name="connsiteY28" fmla="*/ 8001 h 10000"/>
                  <a:gd name="connsiteX29" fmla="*/ 7778 w 10000"/>
                  <a:gd name="connsiteY29" fmla="*/ 6857 h 10000"/>
                  <a:gd name="connsiteX30" fmla="*/ 8889 w 10000"/>
                  <a:gd name="connsiteY30" fmla="*/ 5429 h 10000"/>
                  <a:gd name="connsiteX31" fmla="*/ 8889 w 10000"/>
                  <a:gd name="connsiteY31" fmla="*/ 4858 h 10000"/>
                  <a:gd name="connsiteX0" fmla="*/ 8889 w 10000"/>
                  <a:gd name="connsiteY0" fmla="*/ 4858 h 10000"/>
                  <a:gd name="connsiteX1" fmla="*/ 9259 w 10000"/>
                  <a:gd name="connsiteY1" fmla="*/ 3428 h 10000"/>
                  <a:gd name="connsiteX2" fmla="*/ 10000 w 10000"/>
                  <a:gd name="connsiteY2" fmla="*/ 3143 h 10000"/>
                  <a:gd name="connsiteX3" fmla="*/ 10000 w 10000"/>
                  <a:gd name="connsiteY3" fmla="*/ 2858 h 10000"/>
                  <a:gd name="connsiteX4" fmla="*/ 9630 w 10000"/>
                  <a:gd name="connsiteY4" fmla="*/ 2571 h 10000"/>
                  <a:gd name="connsiteX5" fmla="*/ 8889 w 10000"/>
                  <a:gd name="connsiteY5" fmla="*/ 572 h 10000"/>
                  <a:gd name="connsiteX6" fmla="*/ 8148 w 10000"/>
                  <a:gd name="connsiteY6" fmla="*/ 285 h 10000"/>
                  <a:gd name="connsiteX7" fmla="*/ 8148 w 10000"/>
                  <a:gd name="connsiteY7" fmla="*/ 0 h 10000"/>
                  <a:gd name="connsiteX8" fmla="*/ 7407 w 10000"/>
                  <a:gd name="connsiteY8" fmla="*/ 572 h 10000"/>
                  <a:gd name="connsiteX9" fmla="*/ 6667 w 10000"/>
                  <a:gd name="connsiteY9" fmla="*/ 572 h 10000"/>
                  <a:gd name="connsiteX10" fmla="*/ 1852 w 10000"/>
                  <a:gd name="connsiteY10" fmla="*/ 572 h 10000"/>
                  <a:gd name="connsiteX11" fmla="*/ 1852 w 10000"/>
                  <a:gd name="connsiteY11" fmla="*/ 1715 h 10000"/>
                  <a:gd name="connsiteX12" fmla="*/ 1111 w 10000"/>
                  <a:gd name="connsiteY12" fmla="*/ 1715 h 10000"/>
                  <a:gd name="connsiteX13" fmla="*/ 1111 w 10000"/>
                  <a:gd name="connsiteY13" fmla="*/ 2000 h 10000"/>
                  <a:gd name="connsiteX14" fmla="*/ 1111 w 10000"/>
                  <a:gd name="connsiteY14" fmla="*/ 3715 h 10000"/>
                  <a:gd name="connsiteX15" fmla="*/ 1111 w 10000"/>
                  <a:gd name="connsiteY15" fmla="*/ 4000 h 10000"/>
                  <a:gd name="connsiteX16" fmla="*/ 741 w 10000"/>
                  <a:gd name="connsiteY16" fmla="*/ 4000 h 10000"/>
                  <a:gd name="connsiteX17" fmla="*/ 0 w 10000"/>
                  <a:gd name="connsiteY17" fmla="*/ 5429 h 10000"/>
                  <a:gd name="connsiteX18" fmla="*/ 741 w 10000"/>
                  <a:gd name="connsiteY18" fmla="*/ 6286 h 10000"/>
                  <a:gd name="connsiteX19" fmla="*/ 370 w 10000"/>
                  <a:gd name="connsiteY19" fmla="*/ 6572 h 10000"/>
                  <a:gd name="connsiteX20" fmla="*/ 1111 w 10000"/>
                  <a:gd name="connsiteY20" fmla="*/ 7143 h 10000"/>
                  <a:gd name="connsiteX21" fmla="*/ 1111 w 10000"/>
                  <a:gd name="connsiteY21" fmla="*/ 7714 h 10000"/>
                  <a:gd name="connsiteX22" fmla="*/ 1852 w 10000"/>
                  <a:gd name="connsiteY22" fmla="*/ 8001 h 10000"/>
                  <a:gd name="connsiteX23" fmla="*/ 3704 w 10000"/>
                  <a:gd name="connsiteY23" fmla="*/ 9715 h 10000"/>
                  <a:gd name="connsiteX24" fmla="*/ 4074 w 10000"/>
                  <a:gd name="connsiteY24" fmla="*/ 10000 h 10000"/>
                  <a:gd name="connsiteX25" fmla="*/ 7407 w 10000"/>
                  <a:gd name="connsiteY25" fmla="*/ 8572 h 10000"/>
                  <a:gd name="connsiteX26" fmla="*/ 7037 w 10000"/>
                  <a:gd name="connsiteY26" fmla="*/ 8286 h 10000"/>
                  <a:gd name="connsiteX27" fmla="*/ 7037 w 10000"/>
                  <a:gd name="connsiteY27" fmla="*/ 8001 h 10000"/>
                  <a:gd name="connsiteX28" fmla="*/ 7152 w 10000"/>
                  <a:gd name="connsiteY28" fmla="*/ 6845 h 10000"/>
                  <a:gd name="connsiteX29" fmla="*/ 7778 w 10000"/>
                  <a:gd name="connsiteY29" fmla="*/ 6857 h 10000"/>
                  <a:gd name="connsiteX30" fmla="*/ 8889 w 10000"/>
                  <a:gd name="connsiteY30" fmla="*/ 5429 h 10000"/>
                  <a:gd name="connsiteX31" fmla="*/ 8889 w 10000"/>
                  <a:gd name="connsiteY31" fmla="*/ 4858 h 10000"/>
                  <a:gd name="connsiteX0" fmla="*/ 8889 w 10000"/>
                  <a:gd name="connsiteY0" fmla="*/ 4858 h 10000"/>
                  <a:gd name="connsiteX1" fmla="*/ 9259 w 10000"/>
                  <a:gd name="connsiteY1" fmla="*/ 3428 h 10000"/>
                  <a:gd name="connsiteX2" fmla="*/ 10000 w 10000"/>
                  <a:gd name="connsiteY2" fmla="*/ 3143 h 10000"/>
                  <a:gd name="connsiteX3" fmla="*/ 10000 w 10000"/>
                  <a:gd name="connsiteY3" fmla="*/ 2858 h 10000"/>
                  <a:gd name="connsiteX4" fmla="*/ 9630 w 10000"/>
                  <a:gd name="connsiteY4" fmla="*/ 2571 h 10000"/>
                  <a:gd name="connsiteX5" fmla="*/ 8889 w 10000"/>
                  <a:gd name="connsiteY5" fmla="*/ 572 h 10000"/>
                  <a:gd name="connsiteX6" fmla="*/ 8148 w 10000"/>
                  <a:gd name="connsiteY6" fmla="*/ 285 h 10000"/>
                  <a:gd name="connsiteX7" fmla="*/ 8148 w 10000"/>
                  <a:gd name="connsiteY7" fmla="*/ 0 h 10000"/>
                  <a:gd name="connsiteX8" fmla="*/ 7407 w 10000"/>
                  <a:gd name="connsiteY8" fmla="*/ 572 h 10000"/>
                  <a:gd name="connsiteX9" fmla="*/ 6667 w 10000"/>
                  <a:gd name="connsiteY9" fmla="*/ 572 h 10000"/>
                  <a:gd name="connsiteX10" fmla="*/ 1852 w 10000"/>
                  <a:gd name="connsiteY10" fmla="*/ 572 h 10000"/>
                  <a:gd name="connsiteX11" fmla="*/ 1852 w 10000"/>
                  <a:gd name="connsiteY11" fmla="*/ 1715 h 10000"/>
                  <a:gd name="connsiteX12" fmla="*/ 1111 w 10000"/>
                  <a:gd name="connsiteY12" fmla="*/ 1715 h 10000"/>
                  <a:gd name="connsiteX13" fmla="*/ 1111 w 10000"/>
                  <a:gd name="connsiteY13" fmla="*/ 2000 h 10000"/>
                  <a:gd name="connsiteX14" fmla="*/ 1111 w 10000"/>
                  <a:gd name="connsiteY14" fmla="*/ 3715 h 10000"/>
                  <a:gd name="connsiteX15" fmla="*/ 1111 w 10000"/>
                  <a:gd name="connsiteY15" fmla="*/ 4000 h 10000"/>
                  <a:gd name="connsiteX16" fmla="*/ 741 w 10000"/>
                  <a:gd name="connsiteY16" fmla="*/ 4000 h 10000"/>
                  <a:gd name="connsiteX17" fmla="*/ 0 w 10000"/>
                  <a:gd name="connsiteY17" fmla="*/ 5429 h 10000"/>
                  <a:gd name="connsiteX18" fmla="*/ 741 w 10000"/>
                  <a:gd name="connsiteY18" fmla="*/ 6286 h 10000"/>
                  <a:gd name="connsiteX19" fmla="*/ 370 w 10000"/>
                  <a:gd name="connsiteY19" fmla="*/ 6572 h 10000"/>
                  <a:gd name="connsiteX20" fmla="*/ 1111 w 10000"/>
                  <a:gd name="connsiteY20" fmla="*/ 7143 h 10000"/>
                  <a:gd name="connsiteX21" fmla="*/ 1111 w 10000"/>
                  <a:gd name="connsiteY21" fmla="*/ 7714 h 10000"/>
                  <a:gd name="connsiteX22" fmla="*/ 1852 w 10000"/>
                  <a:gd name="connsiteY22" fmla="*/ 8001 h 10000"/>
                  <a:gd name="connsiteX23" fmla="*/ 3704 w 10000"/>
                  <a:gd name="connsiteY23" fmla="*/ 9715 h 10000"/>
                  <a:gd name="connsiteX24" fmla="*/ 4074 w 10000"/>
                  <a:gd name="connsiteY24" fmla="*/ 10000 h 10000"/>
                  <a:gd name="connsiteX25" fmla="*/ 7407 w 10000"/>
                  <a:gd name="connsiteY25" fmla="*/ 8572 h 10000"/>
                  <a:gd name="connsiteX26" fmla="*/ 7037 w 10000"/>
                  <a:gd name="connsiteY26" fmla="*/ 8286 h 10000"/>
                  <a:gd name="connsiteX27" fmla="*/ 6323 w 10000"/>
                  <a:gd name="connsiteY27" fmla="*/ 6152 h 10000"/>
                  <a:gd name="connsiteX28" fmla="*/ 7152 w 10000"/>
                  <a:gd name="connsiteY28" fmla="*/ 6845 h 10000"/>
                  <a:gd name="connsiteX29" fmla="*/ 7778 w 10000"/>
                  <a:gd name="connsiteY29" fmla="*/ 6857 h 10000"/>
                  <a:gd name="connsiteX30" fmla="*/ 8889 w 10000"/>
                  <a:gd name="connsiteY30" fmla="*/ 5429 h 10000"/>
                  <a:gd name="connsiteX31" fmla="*/ 8889 w 10000"/>
                  <a:gd name="connsiteY31" fmla="*/ 4858 h 10000"/>
                  <a:gd name="connsiteX0" fmla="*/ 8889 w 10000"/>
                  <a:gd name="connsiteY0" fmla="*/ 4858 h 10000"/>
                  <a:gd name="connsiteX1" fmla="*/ 9259 w 10000"/>
                  <a:gd name="connsiteY1" fmla="*/ 3428 h 10000"/>
                  <a:gd name="connsiteX2" fmla="*/ 10000 w 10000"/>
                  <a:gd name="connsiteY2" fmla="*/ 3143 h 10000"/>
                  <a:gd name="connsiteX3" fmla="*/ 10000 w 10000"/>
                  <a:gd name="connsiteY3" fmla="*/ 2858 h 10000"/>
                  <a:gd name="connsiteX4" fmla="*/ 9630 w 10000"/>
                  <a:gd name="connsiteY4" fmla="*/ 2571 h 10000"/>
                  <a:gd name="connsiteX5" fmla="*/ 8889 w 10000"/>
                  <a:gd name="connsiteY5" fmla="*/ 572 h 10000"/>
                  <a:gd name="connsiteX6" fmla="*/ 8148 w 10000"/>
                  <a:gd name="connsiteY6" fmla="*/ 285 h 10000"/>
                  <a:gd name="connsiteX7" fmla="*/ 8148 w 10000"/>
                  <a:gd name="connsiteY7" fmla="*/ 0 h 10000"/>
                  <a:gd name="connsiteX8" fmla="*/ 7407 w 10000"/>
                  <a:gd name="connsiteY8" fmla="*/ 572 h 10000"/>
                  <a:gd name="connsiteX9" fmla="*/ 6667 w 10000"/>
                  <a:gd name="connsiteY9" fmla="*/ 572 h 10000"/>
                  <a:gd name="connsiteX10" fmla="*/ 1852 w 10000"/>
                  <a:gd name="connsiteY10" fmla="*/ 572 h 10000"/>
                  <a:gd name="connsiteX11" fmla="*/ 1852 w 10000"/>
                  <a:gd name="connsiteY11" fmla="*/ 1715 h 10000"/>
                  <a:gd name="connsiteX12" fmla="*/ 1111 w 10000"/>
                  <a:gd name="connsiteY12" fmla="*/ 1715 h 10000"/>
                  <a:gd name="connsiteX13" fmla="*/ 1111 w 10000"/>
                  <a:gd name="connsiteY13" fmla="*/ 2000 h 10000"/>
                  <a:gd name="connsiteX14" fmla="*/ 1111 w 10000"/>
                  <a:gd name="connsiteY14" fmla="*/ 3715 h 10000"/>
                  <a:gd name="connsiteX15" fmla="*/ 1111 w 10000"/>
                  <a:gd name="connsiteY15" fmla="*/ 4000 h 10000"/>
                  <a:gd name="connsiteX16" fmla="*/ 741 w 10000"/>
                  <a:gd name="connsiteY16" fmla="*/ 4000 h 10000"/>
                  <a:gd name="connsiteX17" fmla="*/ 0 w 10000"/>
                  <a:gd name="connsiteY17" fmla="*/ 5429 h 10000"/>
                  <a:gd name="connsiteX18" fmla="*/ 741 w 10000"/>
                  <a:gd name="connsiteY18" fmla="*/ 6286 h 10000"/>
                  <a:gd name="connsiteX19" fmla="*/ 370 w 10000"/>
                  <a:gd name="connsiteY19" fmla="*/ 6572 h 10000"/>
                  <a:gd name="connsiteX20" fmla="*/ 1111 w 10000"/>
                  <a:gd name="connsiteY20" fmla="*/ 7143 h 10000"/>
                  <a:gd name="connsiteX21" fmla="*/ 1111 w 10000"/>
                  <a:gd name="connsiteY21" fmla="*/ 7714 h 10000"/>
                  <a:gd name="connsiteX22" fmla="*/ 1852 w 10000"/>
                  <a:gd name="connsiteY22" fmla="*/ 8001 h 10000"/>
                  <a:gd name="connsiteX23" fmla="*/ 3704 w 10000"/>
                  <a:gd name="connsiteY23" fmla="*/ 9715 h 10000"/>
                  <a:gd name="connsiteX24" fmla="*/ 4074 w 10000"/>
                  <a:gd name="connsiteY24" fmla="*/ 10000 h 10000"/>
                  <a:gd name="connsiteX25" fmla="*/ 7407 w 10000"/>
                  <a:gd name="connsiteY25" fmla="*/ 8572 h 10000"/>
                  <a:gd name="connsiteX26" fmla="*/ 5915 w 10000"/>
                  <a:gd name="connsiteY26" fmla="*/ 7408 h 10000"/>
                  <a:gd name="connsiteX27" fmla="*/ 6323 w 10000"/>
                  <a:gd name="connsiteY27" fmla="*/ 6152 h 10000"/>
                  <a:gd name="connsiteX28" fmla="*/ 7152 w 10000"/>
                  <a:gd name="connsiteY28" fmla="*/ 6845 h 10000"/>
                  <a:gd name="connsiteX29" fmla="*/ 7778 w 10000"/>
                  <a:gd name="connsiteY29" fmla="*/ 6857 h 10000"/>
                  <a:gd name="connsiteX30" fmla="*/ 8889 w 10000"/>
                  <a:gd name="connsiteY30" fmla="*/ 5429 h 10000"/>
                  <a:gd name="connsiteX31" fmla="*/ 8889 w 10000"/>
                  <a:gd name="connsiteY31" fmla="*/ 4858 h 10000"/>
                  <a:gd name="connsiteX0" fmla="*/ 8889 w 10000"/>
                  <a:gd name="connsiteY0" fmla="*/ 4858 h 10000"/>
                  <a:gd name="connsiteX1" fmla="*/ 9259 w 10000"/>
                  <a:gd name="connsiteY1" fmla="*/ 3428 h 10000"/>
                  <a:gd name="connsiteX2" fmla="*/ 10000 w 10000"/>
                  <a:gd name="connsiteY2" fmla="*/ 3143 h 10000"/>
                  <a:gd name="connsiteX3" fmla="*/ 10000 w 10000"/>
                  <a:gd name="connsiteY3" fmla="*/ 2858 h 10000"/>
                  <a:gd name="connsiteX4" fmla="*/ 9630 w 10000"/>
                  <a:gd name="connsiteY4" fmla="*/ 2571 h 10000"/>
                  <a:gd name="connsiteX5" fmla="*/ 8889 w 10000"/>
                  <a:gd name="connsiteY5" fmla="*/ 572 h 10000"/>
                  <a:gd name="connsiteX6" fmla="*/ 8148 w 10000"/>
                  <a:gd name="connsiteY6" fmla="*/ 285 h 10000"/>
                  <a:gd name="connsiteX7" fmla="*/ 8148 w 10000"/>
                  <a:gd name="connsiteY7" fmla="*/ 0 h 10000"/>
                  <a:gd name="connsiteX8" fmla="*/ 7407 w 10000"/>
                  <a:gd name="connsiteY8" fmla="*/ 572 h 10000"/>
                  <a:gd name="connsiteX9" fmla="*/ 6667 w 10000"/>
                  <a:gd name="connsiteY9" fmla="*/ 572 h 10000"/>
                  <a:gd name="connsiteX10" fmla="*/ 1852 w 10000"/>
                  <a:gd name="connsiteY10" fmla="*/ 572 h 10000"/>
                  <a:gd name="connsiteX11" fmla="*/ 1852 w 10000"/>
                  <a:gd name="connsiteY11" fmla="*/ 1715 h 10000"/>
                  <a:gd name="connsiteX12" fmla="*/ 1111 w 10000"/>
                  <a:gd name="connsiteY12" fmla="*/ 1715 h 10000"/>
                  <a:gd name="connsiteX13" fmla="*/ 1111 w 10000"/>
                  <a:gd name="connsiteY13" fmla="*/ 2000 h 10000"/>
                  <a:gd name="connsiteX14" fmla="*/ 1111 w 10000"/>
                  <a:gd name="connsiteY14" fmla="*/ 3715 h 10000"/>
                  <a:gd name="connsiteX15" fmla="*/ 1111 w 10000"/>
                  <a:gd name="connsiteY15" fmla="*/ 4000 h 10000"/>
                  <a:gd name="connsiteX16" fmla="*/ 741 w 10000"/>
                  <a:gd name="connsiteY16" fmla="*/ 4000 h 10000"/>
                  <a:gd name="connsiteX17" fmla="*/ 0 w 10000"/>
                  <a:gd name="connsiteY17" fmla="*/ 5429 h 10000"/>
                  <a:gd name="connsiteX18" fmla="*/ 741 w 10000"/>
                  <a:gd name="connsiteY18" fmla="*/ 6286 h 10000"/>
                  <a:gd name="connsiteX19" fmla="*/ 370 w 10000"/>
                  <a:gd name="connsiteY19" fmla="*/ 6572 h 10000"/>
                  <a:gd name="connsiteX20" fmla="*/ 1111 w 10000"/>
                  <a:gd name="connsiteY20" fmla="*/ 7143 h 10000"/>
                  <a:gd name="connsiteX21" fmla="*/ 1111 w 10000"/>
                  <a:gd name="connsiteY21" fmla="*/ 7714 h 10000"/>
                  <a:gd name="connsiteX22" fmla="*/ 1852 w 10000"/>
                  <a:gd name="connsiteY22" fmla="*/ 8001 h 10000"/>
                  <a:gd name="connsiteX23" fmla="*/ 3704 w 10000"/>
                  <a:gd name="connsiteY23" fmla="*/ 9715 h 10000"/>
                  <a:gd name="connsiteX24" fmla="*/ 4074 w 10000"/>
                  <a:gd name="connsiteY24" fmla="*/ 10000 h 10000"/>
                  <a:gd name="connsiteX25" fmla="*/ 4805 w 10000"/>
                  <a:gd name="connsiteY25" fmla="*/ 6861 h 10000"/>
                  <a:gd name="connsiteX26" fmla="*/ 5915 w 10000"/>
                  <a:gd name="connsiteY26" fmla="*/ 7408 h 10000"/>
                  <a:gd name="connsiteX27" fmla="*/ 6323 w 10000"/>
                  <a:gd name="connsiteY27" fmla="*/ 6152 h 10000"/>
                  <a:gd name="connsiteX28" fmla="*/ 7152 w 10000"/>
                  <a:gd name="connsiteY28" fmla="*/ 6845 h 10000"/>
                  <a:gd name="connsiteX29" fmla="*/ 7778 w 10000"/>
                  <a:gd name="connsiteY29" fmla="*/ 6857 h 10000"/>
                  <a:gd name="connsiteX30" fmla="*/ 8889 w 10000"/>
                  <a:gd name="connsiteY30" fmla="*/ 5429 h 10000"/>
                  <a:gd name="connsiteX31" fmla="*/ 8889 w 10000"/>
                  <a:gd name="connsiteY31" fmla="*/ 4858 h 10000"/>
                  <a:gd name="connsiteX0" fmla="*/ 8889 w 10000"/>
                  <a:gd name="connsiteY0" fmla="*/ 4858 h 9715"/>
                  <a:gd name="connsiteX1" fmla="*/ 9259 w 10000"/>
                  <a:gd name="connsiteY1" fmla="*/ 3428 h 9715"/>
                  <a:gd name="connsiteX2" fmla="*/ 10000 w 10000"/>
                  <a:gd name="connsiteY2" fmla="*/ 3143 h 9715"/>
                  <a:gd name="connsiteX3" fmla="*/ 10000 w 10000"/>
                  <a:gd name="connsiteY3" fmla="*/ 2858 h 9715"/>
                  <a:gd name="connsiteX4" fmla="*/ 9630 w 10000"/>
                  <a:gd name="connsiteY4" fmla="*/ 2571 h 9715"/>
                  <a:gd name="connsiteX5" fmla="*/ 8889 w 10000"/>
                  <a:gd name="connsiteY5" fmla="*/ 572 h 9715"/>
                  <a:gd name="connsiteX6" fmla="*/ 8148 w 10000"/>
                  <a:gd name="connsiteY6" fmla="*/ 285 h 9715"/>
                  <a:gd name="connsiteX7" fmla="*/ 8148 w 10000"/>
                  <a:gd name="connsiteY7" fmla="*/ 0 h 9715"/>
                  <a:gd name="connsiteX8" fmla="*/ 7407 w 10000"/>
                  <a:gd name="connsiteY8" fmla="*/ 572 h 9715"/>
                  <a:gd name="connsiteX9" fmla="*/ 6667 w 10000"/>
                  <a:gd name="connsiteY9" fmla="*/ 572 h 9715"/>
                  <a:gd name="connsiteX10" fmla="*/ 1852 w 10000"/>
                  <a:gd name="connsiteY10" fmla="*/ 572 h 9715"/>
                  <a:gd name="connsiteX11" fmla="*/ 1852 w 10000"/>
                  <a:gd name="connsiteY11" fmla="*/ 1715 h 9715"/>
                  <a:gd name="connsiteX12" fmla="*/ 1111 w 10000"/>
                  <a:gd name="connsiteY12" fmla="*/ 1715 h 9715"/>
                  <a:gd name="connsiteX13" fmla="*/ 1111 w 10000"/>
                  <a:gd name="connsiteY13" fmla="*/ 2000 h 9715"/>
                  <a:gd name="connsiteX14" fmla="*/ 1111 w 10000"/>
                  <a:gd name="connsiteY14" fmla="*/ 3715 h 9715"/>
                  <a:gd name="connsiteX15" fmla="*/ 1111 w 10000"/>
                  <a:gd name="connsiteY15" fmla="*/ 4000 h 9715"/>
                  <a:gd name="connsiteX16" fmla="*/ 741 w 10000"/>
                  <a:gd name="connsiteY16" fmla="*/ 4000 h 9715"/>
                  <a:gd name="connsiteX17" fmla="*/ 0 w 10000"/>
                  <a:gd name="connsiteY17" fmla="*/ 5429 h 9715"/>
                  <a:gd name="connsiteX18" fmla="*/ 741 w 10000"/>
                  <a:gd name="connsiteY18" fmla="*/ 6286 h 9715"/>
                  <a:gd name="connsiteX19" fmla="*/ 370 w 10000"/>
                  <a:gd name="connsiteY19" fmla="*/ 6572 h 9715"/>
                  <a:gd name="connsiteX20" fmla="*/ 1111 w 10000"/>
                  <a:gd name="connsiteY20" fmla="*/ 7143 h 9715"/>
                  <a:gd name="connsiteX21" fmla="*/ 1111 w 10000"/>
                  <a:gd name="connsiteY21" fmla="*/ 7714 h 9715"/>
                  <a:gd name="connsiteX22" fmla="*/ 1852 w 10000"/>
                  <a:gd name="connsiteY22" fmla="*/ 8001 h 9715"/>
                  <a:gd name="connsiteX23" fmla="*/ 3704 w 10000"/>
                  <a:gd name="connsiteY23" fmla="*/ 9715 h 9715"/>
                  <a:gd name="connsiteX24" fmla="*/ 2952 w 10000"/>
                  <a:gd name="connsiteY24" fmla="*/ 7411 h 9715"/>
                  <a:gd name="connsiteX25" fmla="*/ 4805 w 10000"/>
                  <a:gd name="connsiteY25" fmla="*/ 6861 h 9715"/>
                  <a:gd name="connsiteX26" fmla="*/ 5915 w 10000"/>
                  <a:gd name="connsiteY26" fmla="*/ 7408 h 9715"/>
                  <a:gd name="connsiteX27" fmla="*/ 6323 w 10000"/>
                  <a:gd name="connsiteY27" fmla="*/ 6152 h 9715"/>
                  <a:gd name="connsiteX28" fmla="*/ 7152 w 10000"/>
                  <a:gd name="connsiteY28" fmla="*/ 6845 h 9715"/>
                  <a:gd name="connsiteX29" fmla="*/ 7778 w 10000"/>
                  <a:gd name="connsiteY29" fmla="*/ 6857 h 9715"/>
                  <a:gd name="connsiteX30" fmla="*/ 8889 w 10000"/>
                  <a:gd name="connsiteY30" fmla="*/ 5429 h 9715"/>
                  <a:gd name="connsiteX31" fmla="*/ 8889 w 10000"/>
                  <a:gd name="connsiteY31" fmla="*/ 4858 h 9715"/>
                  <a:gd name="connsiteX0" fmla="*/ 8889 w 10000"/>
                  <a:gd name="connsiteY0" fmla="*/ 5001 h 8236"/>
                  <a:gd name="connsiteX1" fmla="*/ 9259 w 10000"/>
                  <a:gd name="connsiteY1" fmla="*/ 3529 h 8236"/>
                  <a:gd name="connsiteX2" fmla="*/ 10000 w 10000"/>
                  <a:gd name="connsiteY2" fmla="*/ 3235 h 8236"/>
                  <a:gd name="connsiteX3" fmla="*/ 10000 w 10000"/>
                  <a:gd name="connsiteY3" fmla="*/ 2942 h 8236"/>
                  <a:gd name="connsiteX4" fmla="*/ 9630 w 10000"/>
                  <a:gd name="connsiteY4" fmla="*/ 2646 h 8236"/>
                  <a:gd name="connsiteX5" fmla="*/ 8889 w 10000"/>
                  <a:gd name="connsiteY5" fmla="*/ 589 h 8236"/>
                  <a:gd name="connsiteX6" fmla="*/ 8148 w 10000"/>
                  <a:gd name="connsiteY6" fmla="*/ 293 h 8236"/>
                  <a:gd name="connsiteX7" fmla="*/ 8148 w 10000"/>
                  <a:gd name="connsiteY7" fmla="*/ 0 h 8236"/>
                  <a:gd name="connsiteX8" fmla="*/ 7407 w 10000"/>
                  <a:gd name="connsiteY8" fmla="*/ 589 h 8236"/>
                  <a:gd name="connsiteX9" fmla="*/ 6667 w 10000"/>
                  <a:gd name="connsiteY9" fmla="*/ 589 h 8236"/>
                  <a:gd name="connsiteX10" fmla="*/ 1852 w 10000"/>
                  <a:gd name="connsiteY10" fmla="*/ 589 h 8236"/>
                  <a:gd name="connsiteX11" fmla="*/ 1852 w 10000"/>
                  <a:gd name="connsiteY11" fmla="*/ 1765 h 8236"/>
                  <a:gd name="connsiteX12" fmla="*/ 1111 w 10000"/>
                  <a:gd name="connsiteY12" fmla="*/ 1765 h 8236"/>
                  <a:gd name="connsiteX13" fmla="*/ 1111 w 10000"/>
                  <a:gd name="connsiteY13" fmla="*/ 2059 h 8236"/>
                  <a:gd name="connsiteX14" fmla="*/ 1111 w 10000"/>
                  <a:gd name="connsiteY14" fmla="*/ 3824 h 8236"/>
                  <a:gd name="connsiteX15" fmla="*/ 1111 w 10000"/>
                  <a:gd name="connsiteY15" fmla="*/ 4117 h 8236"/>
                  <a:gd name="connsiteX16" fmla="*/ 741 w 10000"/>
                  <a:gd name="connsiteY16" fmla="*/ 4117 h 8236"/>
                  <a:gd name="connsiteX17" fmla="*/ 0 w 10000"/>
                  <a:gd name="connsiteY17" fmla="*/ 5588 h 8236"/>
                  <a:gd name="connsiteX18" fmla="*/ 741 w 10000"/>
                  <a:gd name="connsiteY18" fmla="*/ 6470 h 8236"/>
                  <a:gd name="connsiteX19" fmla="*/ 370 w 10000"/>
                  <a:gd name="connsiteY19" fmla="*/ 6765 h 8236"/>
                  <a:gd name="connsiteX20" fmla="*/ 1111 w 10000"/>
                  <a:gd name="connsiteY20" fmla="*/ 7353 h 8236"/>
                  <a:gd name="connsiteX21" fmla="*/ 1111 w 10000"/>
                  <a:gd name="connsiteY21" fmla="*/ 7940 h 8236"/>
                  <a:gd name="connsiteX22" fmla="*/ 1852 w 10000"/>
                  <a:gd name="connsiteY22" fmla="*/ 8236 h 8236"/>
                  <a:gd name="connsiteX23" fmla="*/ 2633 w 10000"/>
                  <a:gd name="connsiteY23" fmla="*/ 7049 h 8236"/>
                  <a:gd name="connsiteX24" fmla="*/ 2952 w 10000"/>
                  <a:gd name="connsiteY24" fmla="*/ 7628 h 8236"/>
                  <a:gd name="connsiteX25" fmla="*/ 4805 w 10000"/>
                  <a:gd name="connsiteY25" fmla="*/ 7062 h 8236"/>
                  <a:gd name="connsiteX26" fmla="*/ 5915 w 10000"/>
                  <a:gd name="connsiteY26" fmla="*/ 7625 h 8236"/>
                  <a:gd name="connsiteX27" fmla="*/ 6323 w 10000"/>
                  <a:gd name="connsiteY27" fmla="*/ 6332 h 8236"/>
                  <a:gd name="connsiteX28" fmla="*/ 7152 w 10000"/>
                  <a:gd name="connsiteY28" fmla="*/ 7046 h 8236"/>
                  <a:gd name="connsiteX29" fmla="*/ 7778 w 10000"/>
                  <a:gd name="connsiteY29" fmla="*/ 7058 h 8236"/>
                  <a:gd name="connsiteX30" fmla="*/ 8889 w 10000"/>
                  <a:gd name="connsiteY30" fmla="*/ 5588 h 8236"/>
                  <a:gd name="connsiteX31" fmla="*/ 8889 w 10000"/>
                  <a:gd name="connsiteY31" fmla="*/ 5001 h 8236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2109 w 10000"/>
                  <a:gd name="connsiteY23" fmla="*/ 9553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323 w 10000"/>
                  <a:gd name="connsiteY28" fmla="*/ 7688 h 10000"/>
                  <a:gd name="connsiteX29" fmla="*/ 7152 w 10000"/>
                  <a:gd name="connsiteY29" fmla="*/ 8555 h 10000"/>
                  <a:gd name="connsiteX30" fmla="*/ 7778 w 10000"/>
                  <a:gd name="connsiteY30" fmla="*/ 8570 h 10000"/>
                  <a:gd name="connsiteX31" fmla="*/ 8889 w 10000"/>
                  <a:gd name="connsiteY31" fmla="*/ 6785 h 10000"/>
                  <a:gd name="connsiteX32" fmla="*/ 8889 w 10000"/>
                  <a:gd name="connsiteY32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323 w 10000"/>
                  <a:gd name="connsiteY28" fmla="*/ 7688 h 10000"/>
                  <a:gd name="connsiteX29" fmla="*/ 7152 w 10000"/>
                  <a:gd name="connsiteY29" fmla="*/ 8555 h 10000"/>
                  <a:gd name="connsiteX30" fmla="*/ 7778 w 10000"/>
                  <a:gd name="connsiteY30" fmla="*/ 8570 h 10000"/>
                  <a:gd name="connsiteX31" fmla="*/ 8889 w 10000"/>
                  <a:gd name="connsiteY31" fmla="*/ 6785 h 10000"/>
                  <a:gd name="connsiteX32" fmla="*/ 8889 w 10000"/>
                  <a:gd name="connsiteY32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323 w 10000"/>
                  <a:gd name="connsiteY28" fmla="*/ 7688 h 10000"/>
                  <a:gd name="connsiteX29" fmla="*/ 7254 w 10000"/>
                  <a:gd name="connsiteY29" fmla="*/ 9017 h 10000"/>
                  <a:gd name="connsiteX30" fmla="*/ 7778 w 10000"/>
                  <a:gd name="connsiteY30" fmla="*/ 8570 h 10000"/>
                  <a:gd name="connsiteX31" fmla="*/ 8889 w 10000"/>
                  <a:gd name="connsiteY31" fmla="*/ 6785 h 10000"/>
                  <a:gd name="connsiteX32" fmla="*/ 8889 w 10000"/>
                  <a:gd name="connsiteY32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731 w 10000"/>
                  <a:gd name="connsiteY28" fmla="*/ 7515 h 10000"/>
                  <a:gd name="connsiteX29" fmla="*/ 7254 w 10000"/>
                  <a:gd name="connsiteY29" fmla="*/ 9017 h 10000"/>
                  <a:gd name="connsiteX30" fmla="*/ 7778 w 10000"/>
                  <a:gd name="connsiteY30" fmla="*/ 8570 h 10000"/>
                  <a:gd name="connsiteX31" fmla="*/ 8889 w 10000"/>
                  <a:gd name="connsiteY31" fmla="*/ 6785 h 10000"/>
                  <a:gd name="connsiteX32" fmla="*/ 8889 w 10000"/>
                  <a:gd name="connsiteY32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292 w 10000"/>
                  <a:gd name="connsiteY28" fmla="*/ 868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292 w 10000"/>
                  <a:gd name="connsiteY28" fmla="*/ 764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762 w 10000"/>
                  <a:gd name="connsiteY27" fmla="*/ 9142 h 10000"/>
                  <a:gd name="connsiteX28" fmla="*/ 6292 w 10000"/>
                  <a:gd name="connsiteY28" fmla="*/ 764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958 w 10000"/>
                  <a:gd name="connsiteY26" fmla="*/ 8691 h 10000"/>
                  <a:gd name="connsiteX27" fmla="*/ 5762 w 10000"/>
                  <a:gd name="connsiteY27" fmla="*/ 9142 h 10000"/>
                  <a:gd name="connsiteX28" fmla="*/ 6292 w 10000"/>
                  <a:gd name="connsiteY28" fmla="*/ 764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958 w 10000"/>
                  <a:gd name="connsiteY26" fmla="*/ 8691 h 10000"/>
                  <a:gd name="connsiteX27" fmla="*/ 5762 w 10000"/>
                  <a:gd name="connsiteY27" fmla="*/ 9142 h 10000"/>
                  <a:gd name="connsiteX28" fmla="*/ 6292 w 10000"/>
                  <a:gd name="connsiteY28" fmla="*/ 764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958 w 10000"/>
                  <a:gd name="connsiteY26" fmla="*/ 8691 h 10000"/>
                  <a:gd name="connsiteX27" fmla="*/ 5762 w 10000"/>
                  <a:gd name="connsiteY27" fmla="*/ 9142 h 10000"/>
                  <a:gd name="connsiteX28" fmla="*/ 6292 w 10000"/>
                  <a:gd name="connsiteY28" fmla="*/ 764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9884"/>
                  <a:gd name="connsiteX1" fmla="*/ 9259 w 10000"/>
                  <a:gd name="connsiteY1" fmla="*/ 4285 h 9884"/>
                  <a:gd name="connsiteX2" fmla="*/ 10000 w 10000"/>
                  <a:gd name="connsiteY2" fmla="*/ 3928 h 9884"/>
                  <a:gd name="connsiteX3" fmla="*/ 10000 w 10000"/>
                  <a:gd name="connsiteY3" fmla="*/ 3572 h 9884"/>
                  <a:gd name="connsiteX4" fmla="*/ 9630 w 10000"/>
                  <a:gd name="connsiteY4" fmla="*/ 3213 h 9884"/>
                  <a:gd name="connsiteX5" fmla="*/ 8889 w 10000"/>
                  <a:gd name="connsiteY5" fmla="*/ 715 h 9884"/>
                  <a:gd name="connsiteX6" fmla="*/ 8148 w 10000"/>
                  <a:gd name="connsiteY6" fmla="*/ 356 h 9884"/>
                  <a:gd name="connsiteX7" fmla="*/ 8148 w 10000"/>
                  <a:gd name="connsiteY7" fmla="*/ 0 h 9884"/>
                  <a:gd name="connsiteX8" fmla="*/ 7407 w 10000"/>
                  <a:gd name="connsiteY8" fmla="*/ 715 h 9884"/>
                  <a:gd name="connsiteX9" fmla="*/ 6667 w 10000"/>
                  <a:gd name="connsiteY9" fmla="*/ 715 h 9884"/>
                  <a:gd name="connsiteX10" fmla="*/ 1852 w 10000"/>
                  <a:gd name="connsiteY10" fmla="*/ 715 h 9884"/>
                  <a:gd name="connsiteX11" fmla="*/ 1852 w 10000"/>
                  <a:gd name="connsiteY11" fmla="*/ 2143 h 9884"/>
                  <a:gd name="connsiteX12" fmla="*/ 1111 w 10000"/>
                  <a:gd name="connsiteY12" fmla="*/ 2143 h 9884"/>
                  <a:gd name="connsiteX13" fmla="*/ 1111 w 10000"/>
                  <a:gd name="connsiteY13" fmla="*/ 2500 h 9884"/>
                  <a:gd name="connsiteX14" fmla="*/ 1111 w 10000"/>
                  <a:gd name="connsiteY14" fmla="*/ 4643 h 9884"/>
                  <a:gd name="connsiteX15" fmla="*/ 1111 w 10000"/>
                  <a:gd name="connsiteY15" fmla="*/ 4999 h 9884"/>
                  <a:gd name="connsiteX16" fmla="*/ 741 w 10000"/>
                  <a:gd name="connsiteY16" fmla="*/ 4999 h 9884"/>
                  <a:gd name="connsiteX17" fmla="*/ 0 w 10000"/>
                  <a:gd name="connsiteY17" fmla="*/ 6785 h 9884"/>
                  <a:gd name="connsiteX18" fmla="*/ 741 w 10000"/>
                  <a:gd name="connsiteY18" fmla="*/ 7856 h 9884"/>
                  <a:gd name="connsiteX19" fmla="*/ 370 w 10000"/>
                  <a:gd name="connsiteY19" fmla="*/ 8214 h 9884"/>
                  <a:gd name="connsiteX20" fmla="*/ 1111 w 10000"/>
                  <a:gd name="connsiteY20" fmla="*/ 8928 h 9884"/>
                  <a:gd name="connsiteX21" fmla="*/ 1111 w 10000"/>
                  <a:gd name="connsiteY21" fmla="*/ 9641 h 9884"/>
                  <a:gd name="connsiteX22" fmla="*/ 1597 w 10000"/>
                  <a:gd name="connsiteY22" fmla="*/ 9884 h 9884"/>
                  <a:gd name="connsiteX23" fmla="*/ 1803 w 10000"/>
                  <a:gd name="connsiteY23" fmla="*/ 8744 h 9884"/>
                  <a:gd name="connsiteX24" fmla="*/ 2633 w 10000"/>
                  <a:gd name="connsiteY24" fmla="*/ 8559 h 9884"/>
                  <a:gd name="connsiteX25" fmla="*/ 2952 w 10000"/>
                  <a:gd name="connsiteY25" fmla="*/ 9262 h 9884"/>
                  <a:gd name="connsiteX26" fmla="*/ 4958 w 10000"/>
                  <a:gd name="connsiteY26" fmla="*/ 8691 h 9884"/>
                  <a:gd name="connsiteX27" fmla="*/ 5762 w 10000"/>
                  <a:gd name="connsiteY27" fmla="*/ 9142 h 9884"/>
                  <a:gd name="connsiteX28" fmla="*/ 6292 w 10000"/>
                  <a:gd name="connsiteY28" fmla="*/ 7647 h 9884"/>
                  <a:gd name="connsiteX29" fmla="*/ 6731 w 10000"/>
                  <a:gd name="connsiteY29" fmla="*/ 7515 h 9884"/>
                  <a:gd name="connsiteX30" fmla="*/ 7254 w 10000"/>
                  <a:gd name="connsiteY30" fmla="*/ 9017 h 9884"/>
                  <a:gd name="connsiteX31" fmla="*/ 7778 w 10000"/>
                  <a:gd name="connsiteY31" fmla="*/ 8570 h 9884"/>
                  <a:gd name="connsiteX32" fmla="*/ 8889 w 10000"/>
                  <a:gd name="connsiteY32" fmla="*/ 6785 h 9884"/>
                  <a:gd name="connsiteX33" fmla="*/ 8889 w 10000"/>
                  <a:gd name="connsiteY33" fmla="*/ 6072 h 9884"/>
                  <a:gd name="connsiteX0" fmla="*/ 8889 w 10000"/>
                  <a:gd name="connsiteY0" fmla="*/ 6143 h 10000"/>
                  <a:gd name="connsiteX1" fmla="*/ 9259 w 10000"/>
                  <a:gd name="connsiteY1" fmla="*/ 4335 h 10000"/>
                  <a:gd name="connsiteX2" fmla="*/ 10000 w 10000"/>
                  <a:gd name="connsiteY2" fmla="*/ 3974 h 10000"/>
                  <a:gd name="connsiteX3" fmla="*/ 10000 w 10000"/>
                  <a:gd name="connsiteY3" fmla="*/ 3614 h 10000"/>
                  <a:gd name="connsiteX4" fmla="*/ 9630 w 10000"/>
                  <a:gd name="connsiteY4" fmla="*/ 3251 h 10000"/>
                  <a:gd name="connsiteX5" fmla="*/ 8889 w 10000"/>
                  <a:gd name="connsiteY5" fmla="*/ 723 h 10000"/>
                  <a:gd name="connsiteX6" fmla="*/ 8148 w 10000"/>
                  <a:gd name="connsiteY6" fmla="*/ 360 h 10000"/>
                  <a:gd name="connsiteX7" fmla="*/ 8148 w 10000"/>
                  <a:gd name="connsiteY7" fmla="*/ 0 h 10000"/>
                  <a:gd name="connsiteX8" fmla="*/ 7407 w 10000"/>
                  <a:gd name="connsiteY8" fmla="*/ 723 h 10000"/>
                  <a:gd name="connsiteX9" fmla="*/ 6667 w 10000"/>
                  <a:gd name="connsiteY9" fmla="*/ 723 h 10000"/>
                  <a:gd name="connsiteX10" fmla="*/ 1852 w 10000"/>
                  <a:gd name="connsiteY10" fmla="*/ 723 h 10000"/>
                  <a:gd name="connsiteX11" fmla="*/ 1852 w 10000"/>
                  <a:gd name="connsiteY11" fmla="*/ 2168 h 10000"/>
                  <a:gd name="connsiteX12" fmla="*/ 1111 w 10000"/>
                  <a:gd name="connsiteY12" fmla="*/ 2168 h 10000"/>
                  <a:gd name="connsiteX13" fmla="*/ 1111 w 10000"/>
                  <a:gd name="connsiteY13" fmla="*/ 2529 h 10000"/>
                  <a:gd name="connsiteX14" fmla="*/ 1111 w 10000"/>
                  <a:gd name="connsiteY14" fmla="*/ 4697 h 10000"/>
                  <a:gd name="connsiteX15" fmla="*/ 1111 w 10000"/>
                  <a:gd name="connsiteY15" fmla="*/ 5058 h 10000"/>
                  <a:gd name="connsiteX16" fmla="*/ 741 w 10000"/>
                  <a:gd name="connsiteY16" fmla="*/ 5058 h 10000"/>
                  <a:gd name="connsiteX17" fmla="*/ 0 w 10000"/>
                  <a:gd name="connsiteY17" fmla="*/ 6865 h 10000"/>
                  <a:gd name="connsiteX18" fmla="*/ 741 w 10000"/>
                  <a:gd name="connsiteY18" fmla="*/ 7948 h 10000"/>
                  <a:gd name="connsiteX19" fmla="*/ 370 w 10000"/>
                  <a:gd name="connsiteY19" fmla="*/ 8310 h 10000"/>
                  <a:gd name="connsiteX20" fmla="*/ 1111 w 10000"/>
                  <a:gd name="connsiteY20" fmla="*/ 9033 h 10000"/>
                  <a:gd name="connsiteX21" fmla="*/ 1111 w 10000"/>
                  <a:gd name="connsiteY21" fmla="*/ 9754 h 10000"/>
                  <a:gd name="connsiteX22" fmla="*/ 1597 w 10000"/>
                  <a:gd name="connsiteY22" fmla="*/ 10000 h 10000"/>
                  <a:gd name="connsiteX23" fmla="*/ 1803 w 10000"/>
                  <a:gd name="connsiteY23" fmla="*/ 8847 h 10000"/>
                  <a:gd name="connsiteX24" fmla="*/ 2582 w 10000"/>
                  <a:gd name="connsiteY24" fmla="*/ 8717 h 10000"/>
                  <a:gd name="connsiteX25" fmla="*/ 2952 w 10000"/>
                  <a:gd name="connsiteY25" fmla="*/ 9371 h 10000"/>
                  <a:gd name="connsiteX26" fmla="*/ 4958 w 10000"/>
                  <a:gd name="connsiteY26" fmla="*/ 8793 h 10000"/>
                  <a:gd name="connsiteX27" fmla="*/ 5762 w 10000"/>
                  <a:gd name="connsiteY27" fmla="*/ 9249 h 10000"/>
                  <a:gd name="connsiteX28" fmla="*/ 6292 w 10000"/>
                  <a:gd name="connsiteY28" fmla="*/ 7737 h 10000"/>
                  <a:gd name="connsiteX29" fmla="*/ 6731 w 10000"/>
                  <a:gd name="connsiteY29" fmla="*/ 7603 h 10000"/>
                  <a:gd name="connsiteX30" fmla="*/ 7254 w 10000"/>
                  <a:gd name="connsiteY30" fmla="*/ 9123 h 10000"/>
                  <a:gd name="connsiteX31" fmla="*/ 7778 w 10000"/>
                  <a:gd name="connsiteY31" fmla="*/ 8671 h 10000"/>
                  <a:gd name="connsiteX32" fmla="*/ 8889 w 10000"/>
                  <a:gd name="connsiteY32" fmla="*/ 6865 h 10000"/>
                  <a:gd name="connsiteX33" fmla="*/ 8889 w 10000"/>
                  <a:gd name="connsiteY33" fmla="*/ 6143 h 10000"/>
                  <a:gd name="connsiteX0" fmla="*/ 8889 w 10000"/>
                  <a:gd name="connsiteY0" fmla="*/ 6143 h 9879"/>
                  <a:gd name="connsiteX1" fmla="*/ 9259 w 10000"/>
                  <a:gd name="connsiteY1" fmla="*/ 4335 h 9879"/>
                  <a:gd name="connsiteX2" fmla="*/ 10000 w 10000"/>
                  <a:gd name="connsiteY2" fmla="*/ 3974 h 9879"/>
                  <a:gd name="connsiteX3" fmla="*/ 10000 w 10000"/>
                  <a:gd name="connsiteY3" fmla="*/ 3614 h 9879"/>
                  <a:gd name="connsiteX4" fmla="*/ 9630 w 10000"/>
                  <a:gd name="connsiteY4" fmla="*/ 3251 h 9879"/>
                  <a:gd name="connsiteX5" fmla="*/ 8889 w 10000"/>
                  <a:gd name="connsiteY5" fmla="*/ 723 h 9879"/>
                  <a:gd name="connsiteX6" fmla="*/ 8148 w 10000"/>
                  <a:gd name="connsiteY6" fmla="*/ 360 h 9879"/>
                  <a:gd name="connsiteX7" fmla="*/ 8148 w 10000"/>
                  <a:gd name="connsiteY7" fmla="*/ 0 h 9879"/>
                  <a:gd name="connsiteX8" fmla="*/ 7407 w 10000"/>
                  <a:gd name="connsiteY8" fmla="*/ 723 h 9879"/>
                  <a:gd name="connsiteX9" fmla="*/ 6667 w 10000"/>
                  <a:gd name="connsiteY9" fmla="*/ 723 h 9879"/>
                  <a:gd name="connsiteX10" fmla="*/ 1852 w 10000"/>
                  <a:gd name="connsiteY10" fmla="*/ 723 h 9879"/>
                  <a:gd name="connsiteX11" fmla="*/ 1852 w 10000"/>
                  <a:gd name="connsiteY11" fmla="*/ 2168 h 9879"/>
                  <a:gd name="connsiteX12" fmla="*/ 1111 w 10000"/>
                  <a:gd name="connsiteY12" fmla="*/ 2168 h 9879"/>
                  <a:gd name="connsiteX13" fmla="*/ 1111 w 10000"/>
                  <a:gd name="connsiteY13" fmla="*/ 2529 h 9879"/>
                  <a:gd name="connsiteX14" fmla="*/ 1111 w 10000"/>
                  <a:gd name="connsiteY14" fmla="*/ 4697 h 9879"/>
                  <a:gd name="connsiteX15" fmla="*/ 1111 w 10000"/>
                  <a:gd name="connsiteY15" fmla="*/ 5058 h 9879"/>
                  <a:gd name="connsiteX16" fmla="*/ 741 w 10000"/>
                  <a:gd name="connsiteY16" fmla="*/ 5058 h 9879"/>
                  <a:gd name="connsiteX17" fmla="*/ 0 w 10000"/>
                  <a:gd name="connsiteY17" fmla="*/ 6865 h 9879"/>
                  <a:gd name="connsiteX18" fmla="*/ 741 w 10000"/>
                  <a:gd name="connsiteY18" fmla="*/ 7948 h 9879"/>
                  <a:gd name="connsiteX19" fmla="*/ 370 w 10000"/>
                  <a:gd name="connsiteY19" fmla="*/ 8310 h 9879"/>
                  <a:gd name="connsiteX20" fmla="*/ 1111 w 10000"/>
                  <a:gd name="connsiteY20" fmla="*/ 9033 h 9879"/>
                  <a:gd name="connsiteX21" fmla="*/ 1111 w 10000"/>
                  <a:gd name="connsiteY21" fmla="*/ 9754 h 9879"/>
                  <a:gd name="connsiteX22" fmla="*/ 1623 w 10000"/>
                  <a:gd name="connsiteY22" fmla="*/ 9879 h 9879"/>
                  <a:gd name="connsiteX23" fmla="*/ 1803 w 10000"/>
                  <a:gd name="connsiteY23" fmla="*/ 8847 h 9879"/>
                  <a:gd name="connsiteX24" fmla="*/ 2582 w 10000"/>
                  <a:gd name="connsiteY24" fmla="*/ 8717 h 9879"/>
                  <a:gd name="connsiteX25" fmla="*/ 2952 w 10000"/>
                  <a:gd name="connsiteY25" fmla="*/ 9371 h 9879"/>
                  <a:gd name="connsiteX26" fmla="*/ 4958 w 10000"/>
                  <a:gd name="connsiteY26" fmla="*/ 8793 h 9879"/>
                  <a:gd name="connsiteX27" fmla="*/ 5762 w 10000"/>
                  <a:gd name="connsiteY27" fmla="*/ 9249 h 9879"/>
                  <a:gd name="connsiteX28" fmla="*/ 6292 w 10000"/>
                  <a:gd name="connsiteY28" fmla="*/ 7737 h 9879"/>
                  <a:gd name="connsiteX29" fmla="*/ 6731 w 10000"/>
                  <a:gd name="connsiteY29" fmla="*/ 7603 h 9879"/>
                  <a:gd name="connsiteX30" fmla="*/ 7254 w 10000"/>
                  <a:gd name="connsiteY30" fmla="*/ 9123 h 9879"/>
                  <a:gd name="connsiteX31" fmla="*/ 7778 w 10000"/>
                  <a:gd name="connsiteY31" fmla="*/ 8671 h 9879"/>
                  <a:gd name="connsiteX32" fmla="*/ 8889 w 10000"/>
                  <a:gd name="connsiteY32" fmla="*/ 6865 h 9879"/>
                  <a:gd name="connsiteX33" fmla="*/ 8889 w 10000"/>
                  <a:gd name="connsiteY33" fmla="*/ 6143 h 9879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803 w 10000"/>
                  <a:gd name="connsiteY23" fmla="*/ 8955 h 10000"/>
                  <a:gd name="connsiteX24" fmla="*/ 2582 w 10000"/>
                  <a:gd name="connsiteY24" fmla="*/ 8824 h 10000"/>
                  <a:gd name="connsiteX25" fmla="*/ 2952 w 10000"/>
                  <a:gd name="connsiteY25" fmla="*/ 9486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803 w 10000"/>
                  <a:gd name="connsiteY23" fmla="*/ 8955 h 10000"/>
                  <a:gd name="connsiteX24" fmla="*/ 2582 w 10000"/>
                  <a:gd name="connsiteY24" fmla="*/ 8824 h 10000"/>
                  <a:gd name="connsiteX25" fmla="*/ 2952 w 10000"/>
                  <a:gd name="connsiteY25" fmla="*/ 9486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582 w 10000"/>
                  <a:gd name="connsiteY24" fmla="*/ 8824 h 10000"/>
                  <a:gd name="connsiteX25" fmla="*/ 2952 w 10000"/>
                  <a:gd name="connsiteY25" fmla="*/ 9486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582 w 10000"/>
                  <a:gd name="connsiteY24" fmla="*/ 8824 h 10000"/>
                  <a:gd name="connsiteX25" fmla="*/ 2952 w 10000"/>
                  <a:gd name="connsiteY25" fmla="*/ 9486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952 w 10000"/>
                  <a:gd name="connsiteY25" fmla="*/ 9486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94 w 10000"/>
                  <a:gd name="connsiteY30" fmla="*/ 9281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94 w 10000"/>
                  <a:gd name="connsiteY30" fmla="*/ 9281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28 w 10000"/>
                  <a:gd name="connsiteY30" fmla="*/ 9266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327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327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327 h 10000"/>
                  <a:gd name="connsiteX31" fmla="*/ 7725 w 10000"/>
                  <a:gd name="connsiteY31" fmla="*/ 8946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327 h 10000"/>
                  <a:gd name="connsiteX31" fmla="*/ 7725 w 10000"/>
                  <a:gd name="connsiteY31" fmla="*/ 8946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582 w 10000"/>
                  <a:gd name="connsiteY24" fmla="*/ 8886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327 h 10000"/>
                  <a:gd name="connsiteX31" fmla="*/ 7725 w 10000"/>
                  <a:gd name="connsiteY31" fmla="*/ 8946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0000" h="10000">
                    <a:moveTo>
                      <a:pt x="8889" y="6218"/>
                    </a:moveTo>
                    <a:cubicBezTo>
                      <a:pt x="9012" y="5608"/>
                      <a:pt x="9136" y="4998"/>
                      <a:pt x="9259" y="4388"/>
                    </a:cubicBezTo>
                    <a:lnTo>
                      <a:pt x="10000" y="4023"/>
                    </a:lnTo>
                    <a:lnTo>
                      <a:pt x="10000" y="3658"/>
                    </a:lnTo>
                    <a:lnTo>
                      <a:pt x="9630" y="3291"/>
                    </a:lnTo>
                    <a:lnTo>
                      <a:pt x="8889" y="732"/>
                    </a:lnTo>
                    <a:lnTo>
                      <a:pt x="8148" y="364"/>
                    </a:lnTo>
                    <a:lnTo>
                      <a:pt x="8148" y="0"/>
                    </a:lnTo>
                    <a:lnTo>
                      <a:pt x="7407" y="732"/>
                    </a:lnTo>
                    <a:lnTo>
                      <a:pt x="6667" y="732"/>
                    </a:lnTo>
                    <a:lnTo>
                      <a:pt x="1852" y="732"/>
                    </a:lnTo>
                    <a:lnTo>
                      <a:pt x="1852" y="2195"/>
                    </a:lnTo>
                    <a:lnTo>
                      <a:pt x="1111" y="2195"/>
                    </a:lnTo>
                    <a:lnTo>
                      <a:pt x="1111" y="2560"/>
                    </a:lnTo>
                    <a:lnTo>
                      <a:pt x="1111" y="4755"/>
                    </a:lnTo>
                    <a:lnTo>
                      <a:pt x="1111" y="5120"/>
                    </a:lnTo>
                    <a:lnTo>
                      <a:pt x="741" y="5120"/>
                    </a:lnTo>
                    <a:lnTo>
                      <a:pt x="0" y="6949"/>
                    </a:lnTo>
                    <a:lnTo>
                      <a:pt x="741" y="8045"/>
                    </a:lnTo>
                    <a:lnTo>
                      <a:pt x="370" y="8412"/>
                    </a:lnTo>
                    <a:lnTo>
                      <a:pt x="1111" y="9144"/>
                    </a:lnTo>
                    <a:lnTo>
                      <a:pt x="1111" y="9873"/>
                    </a:lnTo>
                    <a:lnTo>
                      <a:pt x="1623" y="10000"/>
                    </a:lnTo>
                    <a:cubicBezTo>
                      <a:pt x="1726" y="9556"/>
                      <a:pt x="1805" y="9385"/>
                      <a:pt x="1948" y="8955"/>
                    </a:cubicBezTo>
                    <a:lnTo>
                      <a:pt x="2582" y="8886"/>
                    </a:lnTo>
                    <a:cubicBezTo>
                      <a:pt x="2666" y="9101"/>
                      <a:pt x="2789" y="9332"/>
                      <a:pt x="2873" y="9547"/>
                    </a:cubicBezTo>
                    <a:lnTo>
                      <a:pt x="5024" y="8978"/>
                    </a:lnTo>
                    <a:lnTo>
                      <a:pt x="5736" y="9454"/>
                    </a:lnTo>
                    <a:cubicBezTo>
                      <a:pt x="5941" y="8936"/>
                      <a:pt x="6166" y="8427"/>
                      <a:pt x="6292" y="7878"/>
                    </a:cubicBezTo>
                    <a:lnTo>
                      <a:pt x="6731" y="7696"/>
                    </a:lnTo>
                    <a:cubicBezTo>
                      <a:pt x="6756" y="7710"/>
                      <a:pt x="7242" y="9289"/>
                      <a:pt x="7254" y="9327"/>
                    </a:cubicBezTo>
                    <a:cubicBezTo>
                      <a:pt x="7293" y="9319"/>
                      <a:pt x="7482" y="9188"/>
                      <a:pt x="7725" y="8946"/>
                    </a:cubicBezTo>
                    <a:lnTo>
                      <a:pt x="8889" y="6949"/>
                    </a:lnTo>
                    <a:lnTo>
                      <a:pt x="8889" y="621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sp>
        <p:nvSpPr>
          <p:cNvPr id="9" name="Titel 1">
            <a:extLst>
              <a:ext uri="{FF2B5EF4-FFF2-40B4-BE49-F238E27FC236}">
                <a16:creationId xmlns:a16="http://schemas.microsoft.com/office/drawing/2014/main" id="{8C1A2F19-1807-D34A-FA06-5A5C01DC2412}"/>
              </a:ext>
            </a:extLst>
          </p:cNvPr>
          <p:cNvSpPr txBox="1">
            <a:spLocks/>
          </p:cNvSpPr>
          <p:nvPr/>
        </p:nvSpPr>
        <p:spPr>
          <a:xfrm>
            <a:off x="1647093" y="249197"/>
            <a:ext cx="9301222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EXTENSION STEP BY STEP</a:t>
            </a:r>
            <a:endParaRPr lang="de-DE"/>
          </a:p>
        </p:txBody>
      </p:sp>
      <p:sp>
        <p:nvSpPr>
          <p:cNvPr id="363" name="Freeform 358">
            <a:extLst>
              <a:ext uri="{FF2B5EF4-FFF2-40B4-BE49-F238E27FC236}">
                <a16:creationId xmlns:a16="http://schemas.microsoft.com/office/drawing/2014/main" id="{691CC09A-7E1A-3B9F-6E6B-1271155F1726}"/>
              </a:ext>
            </a:extLst>
          </p:cNvPr>
          <p:cNvSpPr/>
          <p:nvPr/>
        </p:nvSpPr>
        <p:spPr bwMode="auto">
          <a:xfrm rot="21053491" flipH="1">
            <a:off x="3621529" y="1623042"/>
            <a:ext cx="2427169" cy="257534"/>
          </a:xfrm>
          <a:custGeom>
            <a:avLst/>
            <a:gdLst>
              <a:gd name="connsiteX0" fmla="*/ 0 w 4102100"/>
              <a:gd name="connsiteY0" fmla="*/ 330200 h 330200"/>
              <a:gd name="connsiteX1" fmla="*/ 2159000 w 4102100"/>
              <a:gd name="connsiteY1" fmla="*/ 0 h 330200"/>
              <a:gd name="connsiteX2" fmla="*/ 4102100 w 4102100"/>
              <a:gd name="connsiteY2" fmla="*/ 330200 h 330200"/>
              <a:gd name="connsiteX0" fmla="*/ 0 w 4102100"/>
              <a:gd name="connsiteY0" fmla="*/ 304272 h 304272"/>
              <a:gd name="connsiteX1" fmla="*/ 2164946 w 4102100"/>
              <a:gd name="connsiteY1" fmla="*/ 0 h 304272"/>
              <a:gd name="connsiteX2" fmla="*/ 4102100 w 4102100"/>
              <a:gd name="connsiteY2" fmla="*/ 304272 h 304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2100" h="304272">
                <a:moveTo>
                  <a:pt x="0" y="304272"/>
                </a:moveTo>
                <a:cubicBezTo>
                  <a:pt x="737658" y="139172"/>
                  <a:pt x="1481263" y="0"/>
                  <a:pt x="2164946" y="0"/>
                </a:cubicBezTo>
                <a:cubicBezTo>
                  <a:pt x="2848629" y="0"/>
                  <a:pt x="3472391" y="139172"/>
                  <a:pt x="4102100" y="304272"/>
                </a:cubicBezTo>
              </a:path>
            </a:pathLst>
          </a:custGeom>
          <a:noFill/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64" name="Freeform 359">
            <a:extLst>
              <a:ext uri="{FF2B5EF4-FFF2-40B4-BE49-F238E27FC236}">
                <a16:creationId xmlns:a16="http://schemas.microsoft.com/office/drawing/2014/main" id="{A8060F0A-180F-033B-948B-1826098607B3}"/>
              </a:ext>
            </a:extLst>
          </p:cNvPr>
          <p:cNvSpPr/>
          <p:nvPr/>
        </p:nvSpPr>
        <p:spPr bwMode="auto">
          <a:xfrm rot="583083">
            <a:off x="6238856" y="1768695"/>
            <a:ext cx="2093575" cy="156553"/>
          </a:xfrm>
          <a:custGeom>
            <a:avLst/>
            <a:gdLst>
              <a:gd name="connsiteX0" fmla="*/ 0 w 4102100"/>
              <a:gd name="connsiteY0" fmla="*/ 330200 h 330200"/>
              <a:gd name="connsiteX1" fmla="*/ 2159000 w 4102100"/>
              <a:gd name="connsiteY1" fmla="*/ 0 h 330200"/>
              <a:gd name="connsiteX2" fmla="*/ 4102100 w 4102100"/>
              <a:gd name="connsiteY2" fmla="*/ 33020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2100" h="330200">
                <a:moveTo>
                  <a:pt x="0" y="330200"/>
                </a:moveTo>
                <a:cubicBezTo>
                  <a:pt x="737658" y="165100"/>
                  <a:pt x="1475317" y="0"/>
                  <a:pt x="2159000" y="0"/>
                </a:cubicBezTo>
                <a:cubicBezTo>
                  <a:pt x="2842683" y="0"/>
                  <a:pt x="3472391" y="165100"/>
                  <a:pt x="4102100" y="330200"/>
                </a:cubicBezTo>
              </a:path>
            </a:pathLst>
          </a:custGeom>
          <a:noFill/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65" name="Freeform 360">
            <a:extLst>
              <a:ext uri="{FF2B5EF4-FFF2-40B4-BE49-F238E27FC236}">
                <a16:creationId xmlns:a16="http://schemas.microsoft.com/office/drawing/2014/main" id="{8BC35200-B217-FE67-A1C9-B7704224BD6D}"/>
              </a:ext>
            </a:extLst>
          </p:cNvPr>
          <p:cNvSpPr/>
          <p:nvPr/>
        </p:nvSpPr>
        <p:spPr bwMode="auto">
          <a:xfrm rot="21053491" flipV="1">
            <a:off x="3725739" y="1910561"/>
            <a:ext cx="2367006" cy="229661"/>
          </a:xfrm>
          <a:custGeom>
            <a:avLst/>
            <a:gdLst>
              <a:gd name="connsiteX0" fmla="*/ 0 w 4102100"/>
              <a:gd name="connsiteY0" fmla="*/ 330200 h 330200"/>
              <a:gd name="connsiteX1" fmla="*/ 2159000 w 4102100"/>
              <a:gd name="connsiteY1" fmla="*/ 0 h 330200"/>
              <a:gd name="connsiteX2" fmla="*/ 4102100 w 4102100"/>
              <a:gd name="connsiteY2" fmla="*/ 33020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2100" h="330200">
                <a:moveTo>
                  <a:pt x="0" y="330200"/>
                </a:moveTo>
                <a:cubicBezTo>
                  <a:pt x="737658" y="165100"/>
                  <a:pt x="1475317" y="0"/>
                  <a:pt x="2159000" y="0"/>
                </a:cubicBezTo>
                <a:cubicBezTo>
                  <a:pt x="2842683" y="0"/>
                  <a:pt x="3472391" y="165100"/>
                  <a:pt x="4102100" y="330200"/>
                </a:cubicBezTo>
              </a:path>
            </a:pathLst>
          </a:custGeom>
          <a:noFill/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66" name="Freeform 361">
            <a:extLst>
              <a:ext uri="{FF2B5EF4-FFF2-40B4-BE49-F238E27FC236}">
                <a16:creationId xmlns:a16="http://schemas.microsoft.com/office/drawing/2014/main" id="{390E99CF-351B-CFA1-A36D-30D44DF1AB18}"/>
              </a:ext>
            </a:extLst>
          </p:cNvPr>
          <p:cNvSpPr/>
          <p:nvPr/>
        </p:nvSpPr>
        <p:spPr bwMode="auto">
          <a:xfrm rot="18992691" flipV="1">
            <a:off x="4488468" y="2505734"/>
            <a:ext cx="1951178" cy="229661"/>
          </a:xfrm>
          <a:custGeom>
            <a:avLst/>
            <a:gdLst>
              <a:gd name="connsiteX0" fmla="*/ 0 w 4102100"/>
              <a:gd name="connsiteY0" fmla="*/ 330200 h 330200"/>
              <a:gd name="connsiteX1" fmla="*/ 2159000 w 4102100"/>
              <a:gd name="connsiteY1" fmla="*/ 0 h 330200"/>
              <a:gd name="connsiteX2" fmla="*/ 4102100 w 4102100"/>
              <a:gd name="connsiteY2" fmla="*/ 33020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2100" h="330200">
                <a:moveTo>
                  <a:pt x="0" y="330200"/>
                </a:moveTo>
                <a:cubicBezTo>
                  <a:pt x="737658" y="165100"/>
                  <a:pt x="1475317" y="0"/>
                  <a:pt x="2159000" y="0"/>
                </a:cubicBezTo>
                <a:cubicBezTo>
                  <a:pt x="2842683" y="0"/>
                  <a:pt x="3472391" y="165100"/>
                  <a:pt x="4102100" y="330200"/>
                </a:cubicBezTo>
              </a:path>
            </a:pathLst>
          </a:custGeom>
          <a:noFill/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67" name="Freeform 362">
            <a:extLst>
              <a:ext uri="{FF2B5EF4-FFF2-40B4-BE49-F238E27FC236}">
                <a16:creationId xmlns:a16="http://schemas.microsoft.com/office/drawing/2014/main" id="{5270FB31-0772-E29A-184D-8BF70B687BCB}"/>
              </a:ext>
            </a:extLst>
          </p:cNvPr>
          <p:cNvSpPr/>
          <p:nvPr/>
        </p:nvSpPr>
        <p:spPr bwMode="auto">
          <a:xfrm rot="18992691" flipH="1">
            <a:off x="4286253" y="2322769"/>
            <a:ext cx="1951178" cy="229661"/>
          </a:xfrm>
          <a:custGeom>
            <a:avLst/>
            <a:gdLst>
              <a:gd name="connsiteX0" fmla="*/ 0 w 4102100"/>
              <a:gd name="connsiteY0" fmla="*/ 330200 h 330200"/>
              <a:gd name="connsiteX1" fmla="*/ 2159000 w 4102100"/>
              <a:gd name="connsiteY1" fmla="*/ 0 h 330200"/>
              <a:gd name="connsiteX2" fmla="*/ 4102100 w 4102100"/>
              <a:gd name="connsiteY2" fmla="*/ 33020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2100" h="330200">
                <a:moveTo>
                  <a:pt x="0" y="330200"/>
                </a:moveTo>
                <a:cubicBezTo>
                  <a:pt x="737658" y="165100"/>
                  <a:pt x="1475317" y="0"/>
                  <a:pt x="2159000" y="0"/>
                </a:cubicBezTo>
                <a:cubicBezTo>
                  <a:pt x="2842683" y="0"/>
                  <a:pt x="3472391" y="165100"/>
                  <a:pt x="4102100" y="330200"/>
                </a:cubicBezTo>
              </a:path>
            </a:pathLst>
          </a:custGeom>
          <a:noFill/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68" name="Freeform 717">
            <a:extLst>
              <a:ext uri="{FF2B5EF4-FFF2-40B4-BE49-F238E27FC236}">
                <a16:creationId xmlns:a16="http://schemas.microsoft.com/office/drawing/2014/main" id="{59643B79-D66C-43A1-B448-E6EC6C218D89}"/>
              </a:ext>
            </a:extLst>
          </p:cNvPr>
          <p:cNvSpPr/>
          <p:nvPr/>
        </p:nvSpPr>
        <p:spPr bwMode="auto">
          <a:xfrm rot="1169465" flipV="1">
            <a:off x="5996815" y="2162694"/>
            <a:ext cx="1858148" cy="433779"/>
          </a:xfrm>
          <a:custGeom>
            <a:avLst/>
            <a:gdLst>
              <a:gd name="connsiteX0" fmla="*/ 0 w 4102100"/>
              <a:gd name="connsiteY0" fmla="*/ 330200 h 330200"/>
              <a:gd name="connsiteX1" fmla="*/ 2159000 w 4102100"/>
              <a:gd name="connsiteY1" fmla="*/ 0 h 330200"/>
              <a:gd name="connsiteX2" fmla="*/ 4102100 w 4102100"/>
              <a:gd name="connsiteY2" fmla="*/ 33020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2100" h="330200">
                <a:moveTo>
                  <a:pt x="0" y="330200"/>
                </a:moveTo>
                <a:cubicBezTo>
                  <a:pt x="737658" y="165100"/>
                  <a:pt x="1475317" y="0"/>
                  <a:pt x="2159000" y="0"/>
                </a:cubicBezTo>
                <a:cubicBezTo>
                  <a:pt x="2842683" y="0"/>
                  <a:pt x="3472391" y="165100"/>
                  <a:pt x="4102100" y="330200"/>
                </a:cubicBezTo>
              </a:path>
            </a:pathLst>
          </a:custGeom>
          <a:noFill/>
          <a:ln w="15875" cap="flat" cmpd="sng" algn="ctr">
            <a:solidFill>
              <a:schemeClr val="tx2"/>
            </a:solidFill>
            <a:prstDash val="solid"/>
            <a:round/>
            <a:headEnd type="triangl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69" name="Freeform 1075">
            <a:extLst>
              <a:ext uri="{FF2B5EF4-FFF2-40B4-BE49-F238E27FC236}">
                <a16:creationId xmlns:a16="http://schemas.microsoft.com/office/drawing/2014/main" id="{ED79D9BB-0F97-9250-4FBF-95298A7ABFB5}"/>
              </a:ext>
            </a:extLst>
          </p:cNvPr>
          <p:cNvSpPr/>
          <p:nvPr/>
        </p:nvSpPr>
        <p:spPr bwMode="auto">
          <a:xfrm rot="11383083">
            <a:off x="6200755" y="1959651"/>
            <a:ext cx="2093575" cy="156553"/>
          </a:xfrm>
          <a:custGeom>
            <a:avLst/>
            <a:gdLst>
              <a:gd name="connsiteX0" fmla="*/ 0 w 4102100"/>
              <a:gd name="connsiteY0" fmla="*/ 330200 h 330200"/>
              <a:gd name="connsiteX1" fmla="*/ 2159000 w 4102100"/>
              <a:gd name="connsiteY1" fmla="*/ 0 h 330200"/>
              <a:gd name="connsiteX2" fmla="*/ 4102100 w 4102100"/>
              <a:gd name="connsiteY2" fmla="*/ 33020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2100" h="330200">
                <a:moveTo>
                  <a:pt x="0" y="330200"/>
                </a:moveTo>
                <a:cubicBezTo>
                  <a:pt x="737658" y="165100"/>
                  <a:pt x="1475317" y="0"/>
                  <a:pt x="2159000" y="0"/>
                </a:cubicBezTo>
                <a:cubicBezTo>
                  <a:pt x="2842683" y="0"/>
                  <a:pt x="3472391" y="165100"/>
                  <a:pt x="4102100" y="330200"/>
                </a:cubicBezTo>
              </a:path>
            </a:pathLst>
          </a:custGeom>
          <a:noFill/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370" name="Straight Connector 1432">
            <a:extLst>
              <a:ext uri="{FF2B5EF4-FFF2-40B4-BE49-F238E27FC236}">
                <a16:creationId xmlns:a16="http://schemas.microsoft.com/office/drawing/2014/main" id="{7F2D3960-1372-E4EC-CC26-72CB9EB35489}"/>
              </a:ext>
            </a:extLst>
          </p:cNvPr>
          <p:cNvCxnSpPr/>
          <p:nvPr/>
        </p:nvCxnSpPr>
        <p:spPr bwMode="auto">
          <a:xfrm flipV="1">
            <a:off x="6239592" y="1629787"/>
            <a:ext cx="630193" cy="44162"/>
          </a:xfrm>
          <a:prstGeom prst="line">
            <a:avLst/>
          </a:prstGeom>
          <a:noFill/>
          <a:ln w="15875" cap="flat" cmpd="sng" algn="ctr">
            <a:solidFill>
              <a:schemeClr val="tx2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cxnSp>
        <p:nvCxnSpPr>
          <p:cNvPr id="371" name="Straight Connector 1434">
            <a:extLst>
              <a:ext uri="{FF2B5EF4-FFF2-40B4-BE49-F238E27FC236}">
                <a16:creationId xmlns:a16="http://schemas.microsoft.com/office/drawing/2014/main" id="{DC957F5F-9ADA-D755-1CF0-FEC70DBFFE16}"/>
              </a:ext>
            </a:extLst>
          </p:cNvPr>
          <p:cNvCxnSpPr/>
          <p:nvPr/>
        </p:nvCxnSpPr>
        <p:spPr bwMode="auto">
          <a:xfrm flipH="1">
            <a:off x="6251231" y="1524129"/>
            <a:ext cx="621739" cy="48508"/>
          </a:xfrm>
          <a:prstGeom prst="line">
            <a:avLst/>
          </a:prstGeom>
          <a:noFill/>
          <a:ln w="15875" cap="flat" cmpd="sng" algn="ctr">
            <a:solidFill>
              <a:schemeClr val="tx2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372" name="Freeform 1439">
            <a:extLst>
              <a:ext uri="{FF2B5EF4-FFF2-40B4-BE49-F238E27FC236}">
                <a16:creationId xmlns:a16="http://schemas.microsoft.com/office/drawing/2014/main" id="{352281FD-161D-DE17-5A87-07C92D00DFE2}"/>
              </a:ext>
            </a:extLst>
          </p:cNvPr>
          <p:cNvSpPr/>
          <p:nvPr/>
        </p:nvSpPr>
        <p:spPr bwMode="auto">
          <a:xfrm rot="1067975" flipV="1">
            <a:off x="6139205" y="2103893"/>
            <a:ext cx="1713473" cy="420468"/>
          </a:xfrm>
          <a:custGeom>
            <a:avLst/>
            <a:gdLst>
              <a:gd name="connsiteX0" fmla="*/ 0 w 4102100"/>
              <a:gd name="connsiteY0" fmla="*/ 330200 h 330200"/>
              <a:gd name="connsiteX1" fmla="*/ 2159000 w 4102100"/>
              <a:gd name="connsiteY1" fmla="*/ 0 h 330200"/>
              <a:gd name="connsiteX2" fmla="*/ 4102100 w 4102100"/>
              <a:gd name="connsiteY2" fmla="*/ 33020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2100" h="330200">
                <a:moveTo>
                  <a:pt x="0" y="330200"/>
                </a:moveTo>
                <a:cubicBezTo>
                  <a:pt x="737658" y="165100"/>
                  <a:pt x="1475317" y="0"/>
                  <a:pt x="2159000" y="0"/>
                </a:cubicBezTo>
                <a:cubicBezTo>
                  <a:pt x="2842683" y="0"/>
                  <a:pt x="3472391" y="165100"/>
                  <a:pt x="4102100" y="330200"/>
                </a:cubicBezTo>
              </a:path>
            </a:pathLst>
          </a:custGeom>
          <a:noFill/>
          <a:ln w="15875" cap="flat" cmpd="sng" algn="ctr">
            <a:solidFill>
              <a:schemeClr val="tx2"/>
            </a:solidFill>
            <a:prstDash val="solid"/>
            <a:round/>
            <a:headEnd type="none" w="lg" len="lg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73" name="Freeform 362">
            <a:extLst>
              <a:ext uri="{FF2B5EF4-FFF2-40B4-BE49-F238E27FC236}">
                <a16:creationId xmlns:a16="http://schemas.microsoft.com/office/drawing/2014/main" id="{DF0E5928-449D-BCB2-39C6-E769A7987F70}"/>
              </a:ext>
            </a:extLst>
          </p:cNvPr>
          <p:cNvSpPr/>
          <p:nvPr/>
        </p:nvSpPr>
        <p:spPr bwMode="auto">
          <a:xfrm rot="15717653" flipH="1">
            <a:off x="5211597" y="2636957"/>
            <a:ext cx="1951178" cy="229661"/>
          </a:xfrm>
          <a:custGeom>
            <a:avLst/>
            <a:gdLst>
              <a:gd name="connsiteX0" fmla="*/ 0 w 4102100"/>
              <a:gd name="connsiteY0" fmla="*/ 330200 h 330200"/>
              <a:gd name="connsiteX1" fmla="*/ 2159000 w 4102100"/>
              <a:gd name="connsiteY1" fmla="*/ 0 h 330200"/>
              <a:gd name="connsiteX2" fmla="*/ 4102100 w 4102100"/>
              <a:gd name="connsiteY2" fmla="*/ 33020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2100" h="330200">
                <a:moveTo>
                  <a:pt x="0" y="330200"/>
                </a:moveTo>
                <a:cubicBezTo>
                  <a:pt x="737658" y="165100"/>
                  <a:pt x="1475317" y="0"/>
                  <a:pt x="2159000" y="0"/>
                </a:cubicBezTo>
                <a:cubicBezTo>
                  <a:pt x="2842683" y="0"/>
                  <a:pt x="3472391" y="165100"/>
                  <a:pt x="4102100" y="330200"/>
                </a:cubicBezTo>
              </a:path>
            </a:pathLst>
          </a:custGeom>
          <a:noFill/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74" name="Freeform 361">
            <a:extLst>
              <a:ext uri="{FF2B5EF4-FFF2-40B4-BE49-F238E27FC236}">
                <a16:creationId xmlns:a16="http://schemas.microsoft.com/office/drawing/2014/main" id="{7D75DCE6-DAC9-7CEA-46C0-55E61256E4C2}"/>
              </a:ext>
            </a:extLst>
          </p:cNvPr>
          <p:cNvSpPr/>
          <p:nvPr/>
        </p:nvSpPr>
        <p:spPr bwMode="auto">
          <a:xfrm rot="15556066" flipV="1">
            <a:off x="5582807" y="2635398"/>
            <a:ext cx="1838262" cy="195450"/>
          </a:xfrm>
          <a:custGeom>
            <a:avLst/>
            <a:gdLst>
              <a:gd name="connsiteX0" fmla="*/ 0 w 4102100"/>
              <a:gd name="connsiteY0" fmla="*/ 330200 h 330200"/>
              <a:gd name="connsiteX1" fmla="*/ 2159000 w 4102100"/>
              <a:gd name="connsiteY1" fmla="*/ 0 h 330200"/>
              <a:gd name="connsiteX2" fmla="*/ 4102100 w 4102100"/>
              <a:gd name="connsiteY2" fmla="*/ 33020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02100" h="330200">
                <a:moveTo>
                  <a:pt x="0" y="330200"/>
                </a:moveTo>
                <a:cubicBezTo>
                  <a:pt x="737658" y="165100"/>
                  <a:pt x="1475317" y="0"/>
                  <a:pt x="2159000" y="0"/>
                </a:cubicBezTo>
                <a:cubicBezTo>
                  <a:pt x="2842683" y="0"/>
                  <a:pt x="3472391" y="165100"/>
                  <a:pt x="4102100" y="330200"/>
                </a:cubicBezTo>
              </a:path>
            </a:pathLst>
          </a:custGeom>
          <a:noFill/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31" name="TextBox 369">
            <a:extLst>
              <a:ext uri="{FF2B5EF4-FFF2-40B4-BE49-F238E27FC236}">
                <a16:creationId xmlns:a16="http://schemas.microsoft.com/office/drawing/2014/main" id="{EF4CF697-5F8E-64D0-A328-7AC2BA2423D6}"/>
              </a:ext>
            </a:extLst>
          </p:cNvPr>
          <p:cNvSpPr txBox="1">
            <a:spLocks/>
          </p:cNvSpPr>
          <p:nvPr/>
        </p:nvSpPr>
        <p:spPr>
          <a:xfrm>
            <a:off x="1928460" y="4375113"/>
            <a:ext cx="1394601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latin typeface="IBM Plex Sans" panose="020B0503050203000203" pitchFamily="34" charset="0"/>
              </a:rPr>
              <a:t>1990</a:t>
            </a:r>
            <a:br>
              <a:rPr lang="en-US" sz="1400">
                <a:latin typeface="IBM Plex Sans" panose="020B0503050203000203" pitchFamily="34" charset="0"/>
              </a:rPr>
            </a:br>
            <a:r>
              <a:rPr lang="en-US" sz="1400">
                <a:latin typeface="IBM Plex Sans" panose="020B0503050203000203" pitchFamily="34" charset="0"/>
              </a:rPr>
              <a:t>Founded on the initiative of  </a:t>
            </a:r>
            <a:br>
              <a:rPr lang="en-US" sz="1400">
                <a:latin typeface="IBM Plex Sans" panose="020B0503050203000203" pitchFamily="34" charset="0"/>
              </a:rPr>
            </a:br>
            <a:r>
              <a:rPr lang="en-US" sz="1400">
                <a:latin typeface="IBM Plex Sans" panose="020B0503050203000203" pitchFamily="34" charset="0"/>
              </a:rPr>
              <a:t>Helmut Kohl with  focus USA</a:t>
            </a:r>
          </a:p>
        </p:txBody>
      </p:sp>
      <p:pic>
        <p:nvPicPr>
          <p:cNvPr id="732" name="Picture 370" descr="d:\Documents and settings\Marc_Robisch\Desktop\Flaggen_gross\bq-lgflag.gif">
            <a:extLst>
              <a:ext uri="{FF2B5EF4-FFF2-40B4-BE49-F238E27FC236}">
                <a16:creationId xmlns:a16="http://schemas.microsoft.com/office/drawing/2014/main" id="{082759D6-5E05-9DAF-004E-796E8B09030B}"/>
              </a:ext>
            </a:extLst>
          </p:cNvPr>
          <p:cNvPicPr>
            <a:picLocks noChangeArrowheads="1"/>
          </p:cNvPicPr>
          <p:nvPr/>
        </p:nvPicPr>
        <p:blipFill>
          <a:blip r:embed="rId326" cstate="print"/>
          <a:srcRect l="609" t="527" r="3495" b="577"/>
          <a:stretch>
            <a:fillRect/>
          </a:stretch>
        </p:blipFill>
        <p:spPr bwMode="auto">
          <a:xfrm>
            <a:off x="1923046" y="5814509"/>
            <a:ext cx="679713" cy="368177"/>
          </a:xfrm>
          <a:prstGeom prst="rect">
            <a:avLst/>
          </a:prstGeom>
          <a:noFill/>
          <a:effectLst/>
        </p:spPr>
      </p:pic>
      <p:grpSp>
        <p:nvGrpSpPr>
          <p:cNvPr id="733" name="Group 145">
            <a:extLst>
              <a:ext uri="{FF2B5EF4-FFF2-40B4-BE49-F238E27FC236}">
                <a16:creationId xmlns:a16="http://schemas.microsoft.com/office/drawing/2014/main" id="{7066506D-EE19-2088-75F5-FF3034A40F67}"/>
              </a:ext>
            </a:extLst>
          </p:cNvPr>
          <p:cNvGrpSpPr/>
          <p:nvPr/>
        </p:nvGrpSpPr>
        <p:grpSpPr>
          <a:xfrm>
            <a:off x="5361539" y="5815703"/>
            <a:ext cx="679712" cy="392932"/>
            <a:chOff x="910264" y="3983345"/>
            <a:chExt cx="877032" cy="468000"/>
          </a:xfrm>
          <a:effectLst/>
        </p:grpSpPr>
        <p:pic>
          <p:nvPicPr>
            <p:cNvPr id="734" name="Picture 3" descr="d:\Documents and settings\Marc_Robisch\Desktop\Flaggen_gross\ch-lgflag.gif">
              <a:extLst>
                <a:ext uri="{FF2B5EF4-FFF2-40B4-BE49-F238E27FC236}">
                  <a16:creationId xmlns:a16="http://schemas.microsoft.com/office/drawing/2014/main" id="{1F304DEA-99BA-A584-A8C3-B95F591E1F4F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327" cstate="print"/>
            <a:srcRect l="69928" t="773" r="912" b="4466"/>
            <a:stretch>
              <a:fillRect/>
            </a:stretch>
          </p:blipFill>
          <p:spPr bwMode="gray">
            <a:xfrm>
              <a:off x="910264" y="3983345"/>
              <a:ext cx="877032" cy="46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35" name="Picture 3" descr="d:\Documents and settings\Marc_Robisch\Desktop\Flaggen_gross\ch-lgflag.gif">
              <a:extLst>
                <a:ext uri="{FF2B5EF4-FFF2-40B4-BE49-F238E27FC236}">
                  <a16:creationId xmlns:a16="http://schemas.microsoft.com/office/drawing/2014/main" id="{08F622B3-948A-537A-DE5F-DD860C496C7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327" cstate="print"/>
            <a:srcRect l="766" t="773" r="10000" b="4466"/>
            <a:stretch>
              <a:fillRect/>
            </a:stretch>
          </p:blipFill>
          <p:spPr bwMode="gray">
            <a:xfrm>
              <a:off x="911257" y="3983345"/>
              <a:ext cx="624166" cy="468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736" name="Picture 374" descr="d:\Documents and settings\Marc_Robisch\Desktop\Flaggen_gross\rs-lgflag.gif">
            <a:extLst>
              <a:ext uri="{FF2B5EF4-FFF2-40B4-BE49-F238E27FC236}">
                <a16:creationId xmlns:a16="http://schemas.microsoft.com/office/drawing/2014/main" id="{30FDC367-71C7-4661-B7F7-7851962BB2F5}"/>
              </a:ext>
            </a:extLst>
          </p:cNvPr>
          <p:cNvPicPr>
            <a:picLocks noChangeArrowheads="1"/>
          </p:cNvPicPr>
          <p:nvPr/>
        </p:nvPicPr>
        <p:blipFill>
          <a:blip r:embed="rId328" cstate="print"/>
          <a:srcRect r="464" b="475"/>
          <a:stretch>
            <a:fillRect/>
          </a:stretch>
        </p:blipFill>
        <p:spPr bwMode="gray">
          <a:xfrm>
            <a:off x="3602703" y="5805744"/>
            <a:ext cx="679712" cy="392932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/>
        </p:spPr>
      </p:pic>
      <p:grpSp>
        <p:nvGrpSpPr>
          <p:cNvPr id="737" name="Group 375">
            <a:extLst>
              <a:ext uri="{FF2B5EF4-FFF2-40B4-BE49-F238E27FC236}">
                <a16:creationId xmlns:a16="http://schemas.microsoft.com/office/drawing/2014/main" id="{2BA3632A-779F-D3B9-E1FA-8681B43B1939}"/>
              </a:ext>
            </a:extLst>
          </p:cNvPr>
          <p:cNvGrpSpPr>
            <a:grpSpLocks/>
          </p:cNvGrpSpPr>
          <p:nvPr/>
        </p:nvGrpSpPr>
        <p:grpSpPr>
          <a:xfrm>
            <a:off x="7756445" y="5828080"/>
            <a:ext cx="679713" cy="368177"/>
            <a:chOff x="171449" y="1157572"/>
            <a:chExt cx="1440000" cy="720001"/>
          </a:xfrm>
        </p:grpSpPr>
        <p:grpSp>
          <p:nvGrpSpPr>
            <p:cNvPr id="738" name="Group 737">
              <a:extLst>
                <a:ext uri="{FF2B5EF4-FFF2-40B4-BE49-F238E27FC236}">
                  <a16:creationId xmlns:a16="http://schemas.microsoft.com/office/drawing/2014/main" id="{5FC20C68-6260-84C9-D45E-AF0653272FDD}"/>
                </a:ext>
              </a:extLst>
            </p:cNvPr>
            <p:cNvGrpSpPr/>
            <p:nvPr/>
          </p:nvGrpSpPr>
          <p:grpSpPr>
            <a:xfrm>
              <a:off x="171449" y="1157573"/>
              <a:ext cx="1440000" cy="720000"/>
              <a:chOff x="171449" y="1157573"/>
              <a:chExt cx="1440000" cy="720000"/>
            </a:xfrm>
          </p:grpSpPr>
          <p:pic>
            <p:nvPicPr>
              <p:cNvPr id="740" name="Picture 3" descr="d:\Documents and settings\Marc_Robisch\Desktop\Flaggen_gross\in-lgflag.gif">
                <a:extLst>
                  <a:ext uri="{FF2B5EF4-FFF2-40B4-BE49-F238E27FC236}">
                    <a16:creationId xmlns:a16="http://schemas.microsoft.com/office/drawing/2014/main" id="{AE90BE33-EB12-F7A3-75C8-D2E0CCD9451C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5"/>
                </p:custDataLst>
              </p:nvPr>
            </p:nvPicPr>
            <p:blipFill>
              <a:blip r:embed="rId329" cstate="print"/>
              <a:srcRect l="62350" r="2196"/>
              <a:stretch>
                <a:fillRect/>
              </a:stretch>
            </p:blipFill>
            <p:spPr bwMode="auto">
              <a:xfrm>
                <a:off x="171449" y="1157573"/>
                <a:ext cx="1440000" cy="720000"/>
              </a:xfrm>
              <a:prstGeom prst="rect">
                <a:avLst/>
              </a:prstGeom>
              <a:noFill/>
            </p:spPr>
          </p:pic>
          <p:pic>
            <p:nvPicPr>
              <p:cNvPr id="741" name="Picture 3" descr="d:\Documents and settings\Marc_Robisch\Desktop\Flaggen_gross\in-lgflag.gif">
                <a:extLst>
                  <a:ext uri="{FF2B5EF4-FFF2-40B4-BE49-F238E27FC236}">
                    <a16:creationId xmlns:a16="http://schemas.microsoft.com/office/drawing/2014/main" id="{2DD92E0E-6129-B95A-3AF0-48E4A7142E92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6"/>
                </p:custDataLst>
              </p:nvPr>
            </p:nvPicPr>
            <p:blipFill>
              <a:blip r:embed="rId329" cstate="print"/>
              <a:srcRect l="2444" r="1790"/>
              <a:stretch>
                <a:fillRect/>
              </a:stretch>
            </p:blipFill>
            <p:spPr bwMode="auto">
              <a:xfrm>
                <a:off x="338138" y="1157573"/>
                <a:ext cx="1119187" cy="720000"/>
              </a:xfrm>
              <a:prstGeom prst="rect">
                <a:avLst/>
              </a:prstGeom>
              <a:noFill/>
            </p:spPr>
          </p:pic>
        </p:grpSp>
        <p:sp>
          <p:nvSpPr>
            <p:cNvPr id="739" name="Rectangle 377">
              <a:extLst>
                <a:ext uri="{FF2B5EF4-FFF2-40B4-BE49-F238E27FC236}">
                  <a16:creationId xmlns:a16="http://schemas.microsoft.com/office/drawing/2014/main" id="{4FE0C452-2784-D289-E22B-7A58C0D1D2BD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171449" y="1157572"/>
              <a:ext cx="1440000" cy="720000"/>
            </a:xfrm>
            <a:prstGeom prst="rect">
              <a:avLst/>
            </a:prstGeom>
            <a:noFill/>
            <a:ln w="3175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300" b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grpSp>
        <p:nvGrpSpPr>
          <p:cNvPr id="742" name="Group 380">
            <a:extLst>
              <a:ext uri="{FF2B5EF4-FFF2-40B4-BE49-F238E27FC236}">
                <a16:creationId xmlns:a16="http://schemas.microsoft.com/office/drawing/2014/main" id="{E8F2D562-0536-C552-3800-707983397AF3}"/>
              </a:ext>
            </a:extLst>
          </p:cNvPr>
          <p:cNvGrpSpPr>
            <a:grpSpLocks/>
          </p:cNvGrpSpPr>
          <p:nvPr/>
        </p:nvGrpSpPr>
        <p:grpSpPr>
          <a:xfrm>
            <a:off x="7056102" y="5830806"/>
            <a:ext cx="679713" cy="368177"/>
            <a:chOff x="171449" y="1157572"/>
            <a:chExt cx="1440000" cy="720000"/>
          </a:xfrm>
        </p:grpSpPr>
        <p:pic>
          <p:nvPicPr>
            <p:cNvPr id="743" name="Picture 381" descr="d:\Documents and settings\Marc_Robisch\Desktop\Flaggen_gross\br-lgflag.gif">
              <a:extLst>
                <a:ext uri="{FF2B5EF4-FFF2-40B4-BE49-F238E27FC236}">
                  <a16:creationId xmlns:a16="http://schemas.microsoft.com/office/drawing/2014/main" id="{000D8992-44C9-188B-EF41-CED65A31293F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330" cstate="print"/>
            <a:srcRect l="91253" t="6730" b="7662"/>
            <a:stretch>
              <a:fillRect/>
            </a:stretch>
          </p:blipFill>
          <p:spPr bwMode="auto">
            <a:xfrm>
              <a:off x="171450" y="1157572"/>
              <a:ext cx="1439999" cy="720000"/>
            </a:xfrm>
            <a:prstGeom prst="rect">
              <a:avLst/>
            </a:prstGeom>
            <a:noFill/>
          </p:spPr>
        </p:pic>
        <p:pic>
          <p:nvPicPr>
            <p:cNvPr id="744" name="Picture 382" descr="d:\Documents and settings\Marc_Robisch\Desktop\Flaggen_gross\br-lgflag.gif">
              <a:extLst>
                <a:ext uri="{FF2B5EF4-FFF2-40B4-BE49-F238E27FC236}">
                  <a16:creationId xmlns:a16="http://schemas.microsoft.com/office/drawing/2014/main" id="{85FD2BD7-9BA9-E00A-587B-04692109103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330" cstate="print"/>
            <a:srcRect t="6730" b="7662"/>
            <a:stretch>
              <a:fillRect/>
            </a:stretch>
          </p:blipFill>
          <p:spPr bwMode="auto">
            <a:xfrm>
              <a:off x="314976" y="1157572"/>
              <a:ext cx="1152947" cy="720000"/>
            </a:xfrm>
            <a:prstGeom prst="rect">
              <a:avLst/>
            </a:prstGeom>
            <a:noFill/>
          </p:spPr>
        </p:pic>
        <p:sp>
          <p:nvSpPr>
            <p:cNvPr id="745" name="Rectangle 383">
              <a:extLst>
                <a:ext uri="{FF2B5EF4-FFF2-40B4-BE49-F238E27FC236}">
                  <a16:creationId xmlns:a16="http://schemas.microsoft.com/office/drawing/2014/main" id="{759B2300-FB2C-CB48-A8EF-07678BB20D10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171449" y="1157572"/>
              <a:ext cx="1440000" cy="720000"/>
            </a:xfrm>
            <a:prstGeom prst="rect">
              <a:avLst/>
            </a:prstGeom>
            <a:noFill/>
            <a:ln w="3175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300" b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sp>
        <p:nvSpPr>
          <p:cNvPr id="747" name="TextBox 385">
            <a:extLst>
              <a:ext uri="{FF2B5EF4-FFF2-40B4-BE49-F238E27FC236}">
                <a16:creationId xmlns:a16="http://schemas.microsoft.com/office/drawing/2014/main" id="{1A7A0C9D-C4DA-7A80-0804-65ECEA254EA4}"/>
              </a:ext>
            </a:extLst>
          </p:cNvPr>
          <p:cNvSpPr txBox="1">
            <a:spLocks/>
          </p:cNvSpPr>
          <p:nvPr/>
        </p:nvSpPr>
        <p:spPr>
          <a:xfrm>
            <a:off x="3590085" y="4382515"/>
            <a:ext cx="1435629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latin typeface="IBM Plex Sans" panose="020B0503050203000203" pitchFamily="34" charset="0"/>
              </a:rPr>
              <a:t>2002</a:t>
            </a:r>
          </a:p>
          <a:p>
            <a:r>
              <a:rPr lang="en-US" sz="1400">
                <a:latin typeface="IBM Plex Sans" panose="020B0503050203000203" pitchFamily="34" charset="0"/>
              </a:rPr>
              <a:t>Extended on the Initiative of Gerhard </a:t>
            </a:r>
            <a:r>
              <a:rPr lang="en-US" sz="1400" err="1">
                <a:latin typeface="IBM Plex Sans" panose="020B0503050203000203" pitchFamily="34" charset="0"/>
              </a:rPr>
              <a:t>Schröder</a:t>
            </a:r>
            <a:r>
              <a:rPr lang="en-US" sz="1400">
                <a:latin typeface="IBM Plex Sans" panose="020B0503050203000203" pitchFamily="34" charset="0"/>
              </a:rPr>
              <a:t> to the Russian Federation* </a:t>
            </a:r>
          </a:p>
        </p:txBody>
      </p:sp>
      <p:sp>
        <p:nvSpPr>
          <p:cNvPr id="749" name="TextBox 387">
            <a:extLst>
              <a:ext uri="{FF2B5EF4-FFF2-40B4-BE49-F238E27FC236}">
                <a16:creationId xmlns:a16="http://schemas.microsoft.com/office/drawing/2014/main" id="{26D03892-8237-BC05-699D-BCD0E5744FC7}"/>
              </a:ext>
            </a:extLst>
          </p:cNvPr>
          <p:cNvSpPr txBox="1">
            <a:spLocks/>
          </p:cNvSpPr>
          <p:nvPr/>
        </p:nvSpPr>
        <p:spPr>
          <a:xfrm>
            <a:off x="5378207" y="4384144"/>
            <a:ext cx="1784223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latin typeface="IBM Plex Sans" panose="020B0503050203000203" pitchFamily="34" charset="0"/>
              </a:rPr>
              <a:t>2006</a:t>
            </a:r>
          </a:p>
          <a:p>
            <a:r>
              <a:rPr lang="en-US" sz="1400">
                <a:latin typeface="IBM Plex Sans" panose="020B0503050203000203" pitchFamily="34" charset="0"/>
              </a:rPr>
              <a:t>Extended on the initiative of Angela Merkel to the PR </a:t>
            </a:r>
            <a:br>
              <a:rPr lang="en-US" sz="1400">
                <a:latin typeface="IBM Plex Sans" panose="020B0503050203000203" pitchFamily="34" charset="0"/>
              </a:rPr>
            </a:br>
            <a:r>
              <a:rPr lang="en-US" sz="1400">
                <a:latin typeface="IBM Plex Sans" panose="020B0503050203000203" pitchFamily="34" charset="0"/>
              </a:rPr>
              <a:t>of China</a:t>
            </a:r>
          </a:p>
        </p:txBody>
      </p:sp>
      <p:sp>
        <p:nvSpPr>
          <p:cNvPr id="751" name="TextBox 389">
            <a:extLst>
              <a:ext uri="{FF2B5EF4-FFF2-40B4-BE49-F238E27FC236}">
                <a16:creationId xmlns:a16="http://schemas.microsoft.com/office/drawing/2014/main" id="{4B442E07-8C37-CB0C-440D-03EF7CA6D53D}"/>
              </a:ext>
            </a:extLst>
          </p:cNvPr>
          <p:cNvSpPr txBox="1">
            <a:spLocks/>
          </p:cNvSpPr>
          <p:nvPr/>
        </p:nvSpPr>
        <p:spPr>
          <a:xfrm>
            <a:off x="7063549" y="4382508"/>
            <a:ext cx="165600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latin typeface="IBM Plex Sans" panose="020B0503050203000203" pitchFamily="34" charset="0"/>
              </a:rPr>
              <a:t>2013</a:t>
            </a:r>
          </a:p>
          <a:p>
            <a:r>
              <a:rPr lang="en-US" sz="1400">
                <a:latin typeface="IBM Plex Sans" panose="020B0503050203000203" pitchFamily="34" charset="0"/>
              </a:rPr>
              <a:t>Extended on the initiative of Angela Merkel to India </a:t>
            </a:r>
            <a:br>
              <a:rPr lang="en-US" sz="1400">
                <a:latin typeface="IBM Plex Sans" panose="020B0503050203000203" pitchFamily="34" charset="0"/>
              </a:rPr>
            </a:br>
            <a:r>
              <a:rPr lang="en-US" sz="1400">
                <a:latin typeface="IBM Plex Sans" panose="020B0503050203000203" pitchFamily="34" charset="0"/>
              </a:rPr>
              <a:t>and Brazil</a:t>
            </a:r>
          </a:p>
        </p:txBody>
      </p:sp>
      <p:sp>
        <p:nvSpPr>
          <p:cNvPr id="752" name="TextBox 389">
            <a:extLst>
              <a:ext uri="{FF2B5EF4-FFF2-40B4-BE49-F238E27FC236}">
                <a16:creationId xmlns:a16="http://schemas.microsoft.com/office/drawing/2014/main" id="{6F31433B-0018-DCAD-7137-F83EA1AAF139}"/>
              </a:ext>
            </a:extLst>
          </p:cNvPr>
          <p:cNvSpPr txBox="1">
            <a:spLocks/>
          </p:cNvSpPr>
          <p:nvPr/>
        </p:nvSpPr>
        <p:spPr>
          <a:xfrm>
            <a:off x="8850956" y="4384041"/>
            <a:ext cx="165600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latin typeface="IBM Plex Sans" panose="020B0503050203000203" pitchFamily="34" charset="0"/>
              </a:rPr>
              <a:t>2021</a:t>
            </a:r>
          </a:p>
          <a:p>
            <a:r>
              <a:rPr lang="en-US" sz="1400">
                <a:latin typeface="IBM Plex Sans" panose="020B0503050203000203" pitchFamily="34" charset="0"/>
              </a:rPr>
              <a:t>Extended on the initiative of Angela Merkel to South Africa</a:t>
            </a:r>
          </a:p>
        </p:txBody>
      </p:sp>
      <p:pic>
        <p:nvPicPr>
          <p:cNvPr id="754" name="Picture 3" descr="C:\Users\ger\AppData\Local\Microsoft\Windows\INetCache\IE\12ZNWN8Z\Anonymous-Flag-of-South-Africa[1].png">
            <a:extLst>
              <a:ext uri="{FF2B5EF4-FFF2-40B4-BE49-F238E27FC236}">
                <a16:creationId xmlns:a16="http://schemas.microsoft.com/office/drawing/2014/main" id="{B32D8411-4D46-0C63-1BB1-E933F0B87C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3917" y="5831476"/>
            <a:ext cx="643349" cy="36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55" name="Gerade Verbindung 754">
            <a:extLst>
              <a:ext uri="{FF2B5EF4-FFF2-40B4-BE49-F238E27FC236}">
                <a16:creationId xmlns:a16="http://schemas.microsoft.com/office/drawing/2014/main" id="{51B978BA-D6DE-73E6-0FB5-F2E3C723FEC6}"/>
              </a:ext>
            </a:extLst>
          </p:cNvPr>
          <p:cNvCxnSpPr>
            <a:cxnSpLocks/>
          </p:cNvCxnSpPr>
          <p:nvPr/>
        </p:nvCxnSpPr>
        <p:spPr>
          <a:xfrm>
            <a:off x="3430308" y="4403964"/>
            <a:ext cx="0" cy="184501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0" name="Gerade Verbindung 759">
            <a:extLst>
              <a:ext uri="{FF2B5EF4-FFF2-40B4-BE49-F238E27FC236}">
                <a16:creationId xmlns:a16="http://schemas.microsoft.com/office/drawing/2014/main" id="{E2846D18-67FE-78DF-D521-F0F271E714F8}"/>
              </a:ext>
            </a:extLst>
          </p:cNvPr>
          <p:cNvCxnSpPr>
            <a:cxnSpLocks/>
          </p:cNvCxnSpPr>
          <p:nvPr/>
        </p:nvCxnSpPr>
        <p:spPr>
          <a:xfrm>
            <a:off x="5227291" y="4403964"/>
            <a:ext cx="0" cy="184595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1" name="Gerade Verbindung 760">
            <a:extLst>
              <a:ext uri="{FF2B5EF4-FFF2-40B4-BE49-F238E27FC236}">
                <a16:creationId xmlns:a16="http://schemas.microsoft.com/office/drawing/2014/main" id="{684B6360-6A40-8732-C703-BAFC5B5DFB4F}"/>
              </a:ext>
            </a:extLst>
          </p:cNvPr>
          <p:cNvCxnSpPr>
            <a:cxnSpLocks/>
          </p:cNvCxnSpPr>
          <p:nvPr/>
        </p:nvCxnSpPr>
        <p:spPr>
          <a:xfrm>
            <a:off x="6910295" y="4403964"/>
            <a:ext cx="0" cy="18607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2" name="Gerade Verbindung 761">
            <a:extLst>
              <a:ext uri="{FF2B5EF4-FFF2-40B4-BE49-F238E27FC236}">
                <a16:creationId xmlns:a16="http://schemas.microsoft.com/office/drawing/2014/main" id="{A6125E4F-65BB-58CA-8BEC-117A4458DC75}"/>
              </a:ext>
            </a:extLst>
          </p:cNvPr>
          <p:cNvCxnSpPr>
            <a:cxnSpLocks/>
          </p:cNvCxnSpPr>
          <p:nvPr/>
        </p:nvCxnSpPr>
        <p:spPr>
          <a:xfrm>
            <a:off x="8688893" y="4403964"/>
            <a:ext cx="0" cy="18459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385">
            <a:extLst>
              <a:ext uri="{FF2B5EF4-FFF2-40B4-BE49-F238E27FC236}">
                <a16:creationId xmlns:a16="http://schemas.microsoft.com/office/drawing/2014/main" id="{6338332A-9411-DB5D-9879-C2B6D138C061}"/>
              </a:ext>
            </a:extLst>
          </p:cNvPr>
          <p:cNvSpPr txBox="1">
            <a:spLocks/>
          </p:cNvSpPr>
          <p:nvPr/>
        </p:nvSpPr>
        <p:spPr>
          <a:xfrm>
            <a:off x="3515684" y="6281818"/>
            <a:ext cx="20857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latin typeface="IBM Plex Sans" panose="020B0503050203000203" pitchFamily="34" charset="0"/>
              </a:rPr>
              <a:t>* suspended due to the war against Ukraine</a:t>
            </a:r>
          </a:p>
        </p:txBody>
      </p:sp>
    </p:spTree>
    <p:extLst>
      <p:ext uri="{BB962C8B-B14F-4D97-AF65-F5344CB8AC3E}">
        <p14:creationId xmlns:p14="http://schemas.microsoft.com/office/powerpoint/2010/main" val="1704113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72A1F3-388D-3731-E1F3-22BB4DA5E2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29300" y="4552754"/>
            <a:ext cx="5804545" cy="1805326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/>
              <a:t>World-spanning Humboldt Network transcending the boundaries of disciplines and countries </a:t>
            </a:r>
          </a:p>
          <a:p>
            <a:pPr>
              <a:lnSpc>
                <a:spcPct val="100000"/>
              </a:lnSpc>
            </a:pPr>
            <a:r>
              <a:rPr lang="en-US" sz="1800"/>
              <a:t>Scientific solutions to the challenges of our times</a:t>
            </a:r>
          </a:p>
          <a:p>
            <a:pPr>
              <a:lnSpc>
                <a:spcPct val="100000"/>
              </a:lnSpc>
            </a:pPr>
            <a:r>
              <a:rPr lang="en-US" sz="1800"/>
              <a:t>A network of trust and understanding</a:t>
            </a:r>
            <a:endParaRPr lang="de-DE" sz="180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9F03402-25F6-B8A7-0E57-9F7B9AFEAD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5167" r="25167"/>
          <a:stretch/>
        </p:blipFill>
        <p:spPr>
          <a:xfrm>
            <a:off x="0" y="0"/>
            <a:ext cx="5115208" cy="685800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3F70C426-490C-58B7-80FF-2618F0FDE7BF}"/>
              </a:ext>
            </a:extLst>
          </p:cNvPr>
          <p:cNvSpPr/>
          <p:nvPr/>
        </p:nvSpPr>
        <p:spPr>
          <a:xfrm>
            <a:off x="991327" y="1923254"/>
            <a:ext cx="439387" cy="4393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340A293-1305-EBA1-B34C-5E9B9217783E}"/>
              </a:ext>
            </a:extLst>
          </p:cNvPr>
          <p:cNvSpPr/>
          <p:nvPr/>
        </p:nvSpPr>
        <p:spPr>
          <a:xfrm>
            <a:off x="1576068" y="3814219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89FDCF1-036A-1C7F-67CF-1E2C170DA5CF}"/>
              </a:ext>
            </a:extLst>
          </p:cNvPr>
          <p:cNvSpPr/>
          <p:nvPr/>
        </p:nvSpPr>
        <p:spPr>
          <a:xfrm>
            <a:off x="1249862" y="411897"/>
            <a:ext cx="180852" cy="18085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8FCE108-05C8-3689-FE8C-08941ECDCED5}"/>
              </a:ext>
            </a:extLst>
          </p:cNvPr>
          <p:cNvSpPr/>
          <p:nvPr/>
        </p:nvSpPr>
        <p:spPr>
          <a:xfrm>
            <a:off x="357592" y="3250870"/>
            <a:ext cx="178130" cy="1781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B10F25AF-2929-C66B-8489-697749B88FD9}"/>
              </a:ext>
            </a:extLst>
          </p:cNvPr>
          <p:cNvCxnSpPr>
            <a:cxnSpLocks/>
            <a:stCxn id="8" idx="4"/>
            <a:endCxn id="6" idx="0"/>
          </p:cNvCxnSpPr>
          <p:nvPr/>
        </p:nvCxnSpPr>
        <p:spPr>
          <a:xfrm flipH="1">
            <a:off x="1211021" y="592749"/>
            <a:ext cx="129267" cy="133050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DD7BA830-126F-0F68-71FF-BC762A62E184}"/>
              </a:ext>
            </a:extLst>
          </p:cNvPr>
          <p:cNvCxnSpPr>
            <a:cxnSpLocks/>
            <a:stCxn id="7" idx="0"/>
            <a:endCxn id="6" idx="5"/>
          </p:cNvCxnSpPr>
          <p:nvPr/>
        </p:nvCxnSpPr>
        <p:spPr>
          <a:xfrm flipH="1" flipV="1">
            <a:off x="1366367" y="2298294"/>
            <a:ext cx="310641" cy="151592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033AD7B-28A6-E090-536F-3D4C3850E913}"/>
              </a:ext>
            </a:extLst>
          </p:cNvPr>
          <p:cNvCxnSpPr>
            <a:cxnSpLocks/>
            <a:stCxn id="6" idx="3"/>
            <a:endCxn id="9" idx="7"/>
          </p:cNvCxnSpPr>
          <p:nvPr/>
        </p:nvCxnSpPr>
        <p:spPr>
          <a:xfrm flipH="1">
            <a:off x="509635" y="2298294"/>
            <a:ext cx="546039" cy="978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8FC800D3-5BAD-5987-2D24-B956B85F4E33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717630" y="0"/>
            <a:ext cx="558717" cy="43838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9A97F3B0-52B2-E57D-9580-D01872917D6D}"/>
              </a:ext>
            </a:extLst>
          </p:cNvPr>
          <p:cNvCxnSpPr>
            <a:cxnSpLocks/>
            <a:stCxn id="9" idx="6"/>
            <a:endCxn id="7" idx="2"/>
          </p:cNvCxnSpPr>
          <p:nvPr/>
        </p:nvCxnSpPr>
        <p:spPr>
          <a:xfrm>
            <a:off x="535722" y="3339935"/>
            <a:ext cx="1040346" cy="57522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274AA67B-965F-EBBC-114D-6D6CC532371F}"/>
              </a:ext>
            </a:extLst>
          </p:cNvPr>
          <p:cNvCxnSpPr>
            <a:cxnSpLocks/>
            <a:endCxn id="9" idx="2"/>
          </p:cNvCxnSpPr>
          <p:nvPr/>
        </p:nvCxnSpPr>
        <p:spPr>
          <a:xfrm>
            <a:off x="0" y="3276957"/>
            <a:ext cx="357592" cy="6297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E7035873-2C37-066E-2FAE-2893F01F5F81}"/>
              </a:ext>
            </a:extLst>
          </p:cNvPr>
          <p:cNvSpPr txBox="1"/>
          <p:nvPr/>
        </p:nvSpPr>
        <p:spPr>
          <a:xfrm>
            <a:off x="831850" y="6396180"/>
            <a:ext cx="37733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BC29D-A5FE-1248-A03D-D7D35CA1AE83}" type="slidenum">
              <a:rPr lang="de-DE" sz="1100" b="0" i="0" smtClean="0"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lang="de-DE" sz="1100" b="0" i="0">
                <a:latin typeface="IBM Plex Sans Light" panose="020B0403050203000203" pitchFamily="34" charset="0"/>
              </a:rPr>
              <a:t> | </a:t>
            </a:r>
            <a:fld id="{EF543838-273D-F04A-829F-F5483DF16BC0}" type="datetimeFigureOut">
              <a:rPr lang="de-DE" sz="1100" b="0" i="0" smtClean="0">
                <a:latin typeface="IBM Plex Sans Light" panose="020B040305020300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06.2023</a:t>
            </a:fld>
            <a:endParaRPr lang="de-DE" sz="1100" b="0" i="0">
              <a:latin typeface="IBM Plex Sans Light" panose="020B0403050203000203" pitchFamily="34" charset="0"/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6B6BE6BC-DD52-9A44-F8D8-6A0FD5EE9698}"/>
              </a:ext>
            </a:extLst>
          </p:cNvPr>
          <p:cNvSpPr txBox="1">
            <a:spLocks/>
          </p:cNvSpPr>
          <p:nvPr/>
        </p:nvSpPr>
        <p:spPr>
          <a:xfrm>
            <a:off x="5829300" y="411897"/>
            <a:ext cx="7249063" cy="2055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r>
              <a:rPr lang="de-DE"/>
              <a:t>OUR NETWORK</a:t>
            </a:r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0846B8AC-9CC5-74D1-80FB-BB569E31A4E2}"/>
              </a:ext>
            </a:extLst>
          </p:cNvPr>
          <p:cNvSpPr txBox="1"/>
          <p:nvPr/>
        </p:nvSpPr>
        <p:spPr>
          <a:xfrm>
            <a:off x="3050876" y="3662416"/>
            <a:ext cx="73390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600" i="1">
                <a:solidFill>
                  <a:schemeClr val="accent3">
                    <a:lumMod val="75000"/>
                  </a:schemeClr>
                </a:solidFill>
                <a:latin typeface="IBM Plex Sans Light" panose="020B0403050203000203" pitchFamily="34" charset="0"/>
              </a:rPr>
              <a:t>Alexander von Humboldt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B692A8A9-D23D-DB63-17F1-AF74B2059406}"/>
              </a:ext>
            </a:extLst>
          </p:cNvPr>
          <p:cNvSpPr txBox="1">
            <a:spLocks/>
          </p:cNvSpPr>
          <p:nvPr/>
        </p:nvSpPr>
        <p:spPr>
          <a:xfrm>
            <a:off x="2038486" y="953711"/>
            <a:ext cx="1206498" cy="23070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r>
              <a:rPr lang="de-DE" sz="20000">
                <a:ln w="25400">
                  <a:noFill/>
                </a:ln>
                <a:solidFill>
                  <a:schemeClr val="bg1"/>
                </a:solidFill>
              </a:rPr>
              <a:t>„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B2470A8-C4ED-8EE1-CC52-A81EA4671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1811" y="2314771"/>
            <a:ext cx="7879294" cy="1805327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chemeClr val="tx1"/>
                </a:solidFill>
              </a:rPr>
              <a:t>IDEAS CAN ONLY BEAR FRUIT</a:t>
            </a:r>
            <a:br>
              <a:rPr lang="en-US" sz="4000">
                <a:solidFill>
                  <a:schemeClr val="tx1"/>
                </a:solidFill>
              </a:rPr>
            </a:br>
            <a:r>
              <a:rPr lang="en-US" sz="4000">
                <a:solidFill>
                  <a:schemeClr val="tx1"/>
                </a:solidFill>
              </a:rPr>
              <a:t>IF THEY TAKE ROOT IN MANY MINDS.</a:t>
            </a:r>
          </a:p>
        </p:txBody>
      </p:sp>
    </p:spTree>
    <p:extLst>
      <p:ext uri="{BB962C8B-B14F-4D97-AF65-F5344CB8AC3E}">
        <p14:creationId xmlns:p14="http://schemas.microsoft.com/office/powerpoint/2010/main" val="5421836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A00ECA-07F9-C5D5-464E-9227D4992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9808029" cy="1141787"/>
          </a:xfrm>
        </p:spPr>
        <p:txBody>
          <a:bodyPr>
            <a:normAutofit/>
          </a:bodyPr>
          <a:lstStyle/>
          <a:p>
            <a:r>
              <a:rPr lang="de-DE" sz="3600"/>
              <a:t>NETWORK GERMAN CHANCELLOR FELLOWSHIP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C5667536-8FCC-18D5-5EEA-C581E4919C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25283" y="1548305"/>
            <a:ext cx="8795659" cy="4889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0DEB936-A2E2-A595-CDD1-88ACF05C6CD5}"/>
              </a:ext>
            </a:extLst>
          </p:cNvPr>
          <p:cNvSpPr txBox="1"/>
          <p:nvPr/>
        </p:nvSpPr>
        <p:spPr>
          <a:xfrm>
            <a:off x="1223628" y="3199052"/>
            <a:ext cx="7377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chemeClr val="bg1"/>
                </a:solidFill>
                <a:latin typeface="IBM Plex Sans Medium" panose="020B0603050203000203" pitchFamily="34" charset="0"/>
              </a:rPr>
              <a:t>325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1B25BB1-E93D-1F35-D6A5-C87921380641}"/>
              </a:ext>
            </a:extLst>
          </p:cNvPr>
          <p:cNvSpPr txBox="1"/>
          <p:nvPr/>
        </p:nvSpPr>
        <p:spPr>
          <a:xfrm>
            <a:off x="3291812" y="5250273"/>
            <a:ext cx="553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chemeClr val="bg1"/>
                </a:solidFill>
                <a:latin typeface="IBM Plex Sans Medium" panose="020B0603050203000203" pitchFamily="34" charset="0"/>
              </a:rPr>
              <a:t>95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B73FAB1-51CE-7537-B25B-5B20AAAC1796}"/>
              </a:ext>
            </a:extLst>
          </p:cNvPr>
          <p:cNvSpPr txBox="1"/>
          <p:nvPr/>
        </p:nvSpPr>
        <p:spPr>
          <a:xfrm>
            <a:off x="5624644" y="5959611"/>
            <a:ext cx="553357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chemeClr val="bg1"/>
                </a:solidFill>
                <a:latin typeface="IBM Plex Sans Medium" panose="020B0603050203000203" pitchFamily="34" charset="0"/>
              </a:rPr>
              <a:t>12</a:t>
            </a:r>
          </a:p>
          <a:p>
            <a:endParaRPr lang="de-DE" sz="2800">
              <a:latin typeface="IBM Plex Sans Medium" panose="020B0603050203000203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98D9F13-E218-893F-D5B1-038D5C47CE34}"/>
              </a:ext>
            </a:extLst>
          </p:cNvPr>
          <p:cNvSpPr txBox="1"/>
          <p:nvPr/>
        </p:nvSpPr>
        <p:spPr>
          <a:xfrm>
            <a:off x="6611955" y="2028101"/>
            <a:ext cx="7377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chemeClr val="bg1"/>
                </a:solidFill>
                <a:latin typeface="IBM Plex Sans Medium" panose="020B0603050203000203" pitchFamily="34" charset="0"/>
              </a:rPr>
              <a:t>182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2496BA-B32F-6C3B-8B85-118EB58833CD}"/>
              </a:ext>
            </a:extLst>
          </p:cNvPr>
          <p:cNvSpPr txBox="1"/>
          <p:nvPr/>
        </p:nvSpPr>
        <p:spPr>
          <a:xfrm>
            <a:off x="8408098" y="3428654"/>
            <a:ext cx="7377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chemeClr val="bg1"/>
                </a:solidFill>
                <a:latin typeface="IBM Plex Sans Medium" panose="020B0603050203000203" pitchFamily="34" charset="0"/>
              </a:rPr>
              <a:t>150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4EB17CF-FD8D-B09A-A562-1D818046E976}"/>
              </a:ext>
            </a:extLst>
          </p:cNvPr>
          <p:cNvSpPr txBox="1"/>
          <p:nvPr/>
        </p:nvSpPr>
        <p:spPr>
          <a:xfrm>
            <a:off x="7471927" y="3937511"/>
            <a:ext cx="553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chemeClr val="bg1"/>
                </a:solidFill>
                <a:latin typeface="IBM Plex Sans Medium" panose="020B0603050203000203" pitchFamily="34" charset="0"/>
              </a:rPr>
              <a:t>85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BAECAABC-20B8-54A9-1FC0-11BECC1DEA0F}"/>
              </a:ext>
            </a:extLst>
          </p:cNvPr>
          <p:cNvSpPr txBox="1">
            <a:spLocks/>
          </p:cNvSpPr>
          <p:nvPr/>
        </p:nvSpPr>
        <p:spPr>
          <a:xfrm>
            <a:off x="9720942" y="4451904"/>
            <a:ext cx="2504814" cy="139372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de-DE">
                <a:solidFill>
                  <a:schemeClr val="tx1"/>
                </a:solidFill>
              </a:rPr>
              <a:t>813</a:t>
            </a:r>
          </a:p>
          <a:p>
            <a:pPr algn="ctr">
              <a:lnSpc>
                <a:spcPct val="100000"/>
              </a:lnSpc>
            </a:pPr>
            <a:r>
              <a:rPr lang="de-DE" sz="1800" b="0">
                <a:solidFill>
                  <a:schemeClr val="tx1"/>
                </a:solidFill>
                <a:latin typeface="IBM Plex Sans Light" panose="020B0403050203000203" pitchFamily="34" charset="0"/>
              </a:rPr>
              <a:t>German Chancellor Fellows</a:t>
            </a:r>
          </a:p>
          <a:p>
            <a:pPr algn="ctr">
              <a:lnSpc>
                <a:spcPct val="100000"/>
              </a:lnSpc>
            </a:pPr>
            <a:endParaRPr lang="de-DE" sz="1800" b="0">
              <a:solidFill>
                <a:schemeClr val="tx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9A5EB438-528A-337F-143E-4A089C5BCC6A}"/>
              </a:ext>
            </a:extLst>
          </p:cNvPr>
          <p:cNvSpPr txBox="1">
            <a:spLocks/>
          </p:cNvSpPr>
          <p:nvPr/>
        </p:nvSpPr>
        <p:spPr>
          <a:xfrm>
            <a:off x="7662206" y="6500053"/>
            <a:ext cx="2504814" cy="34966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de-DE" sz="1800" b="0" err="1">
                <a:solidFill>
                  <a:schemeClr val="tx1"/>
                </a:solidFill>
                <a:latin typeface="IBM Plex Sans Light" panose="020B0403050203000203" pitchFamily="34" charset="0"/>
              </a:rPr>
              <a:t>as</a:t>
            </a:r>
            <a:r>
              <a:rPr lang="de-DE" sz="1800" b="0">
                <a:solidFill>
                  <a:schemeClr val="tx1"/>
                </a:solidFill>
                <a:latin typeface="IBM Plex Sans Light" panose="020B0403050203000203" pitchFamily="34" charset="0"/>
              </a:rPr>
              <a:t> </a:t>
            </a:r>
            <a:r>
              <a:rPr lang="de-DE" sz="1800" b="0" err="1">
                <a:solidFill>
                  <a:schemeClr val="tx1"/>
                </a:solidFill>
                <a:latin typeface="IBM Plex Sans Light" panose="020B0403050203000203" pitchFamily="34" charset="0"/>
              </a:rPr>
              <a:t>of</a:t>
            </a:r>
            <a:r>
              <a:rPr lang="de-DE" sz="1800" b="0">
                <a:solidFill>
                  <a:schemeClr val="tx1"/>
                </a:solidFill>
                <a:latin typeface="IBM Plex Sans Light" panose="020B0403050203000203" pitchFamily="34" charset="0"/>
              </a:rPr>
              <a:t> May 2023</a:t>
            </a:r>
          </a:p>
          <a:p>
            <a:pPr algn="ctr">
              <a:lnSpc>
                <a:spcPct val="100000"/>
              </a:lnSpc>
            </a:pPr>
            <a:endParaRPr lang="de-DE" sz="1800" b="0">
              <a:solidFill>
                <a:schemeClr val="tx1"/>
              </a:solidFill>
              <a:latin typeface="IBM Plex Sans Light" panose="020B04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116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el 1">
            <a:extLst>
              <a:ext uri="{FF2B5EF4-FFF2-40B4-BE49-F238E27FC236}">
                <a16:creationId xmlns:a16="http://schemas.microsoft.com/office/drawing/2014/main" id="{8D794FE2-6F57-3F42-53A8-CF2E5A6C3A59}"/>
              </a:ext>
            </a:extLst>
          </p:cNvPr>
          <p:cNvSpPr txBox="1">
            <a:spLocks/>
          </p:cNvSpPr>
          <p:nvPr/>
        </p:nvSpPr>
        <p:spPr>
          <a:xfrm>
            <a:off x="829147" y="729052"/>
            <a:ext cx="6043277" cy="66842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TARGET GROUP</a:t>
            </a:r>
            <a:endParaRPr lang="de-DE"/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E48E4990-2E6C-ED1D-49B2-D6DB90535BA8}"/>
              </a:ext>
            </a:extLst>
          </p:cNvPr>
          <p:cNvSpPr txBox="1">
            <a:spLocks/>
          </p:cNvSpPr>
          <p:nvPr/>
        </p:nvSpPr>
        <p:spPr>
          <a:xfrm>
            <a:off x="4795030" y="2006982"/>
            <a:ext cx="4481195" cy="109093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000"/>
              <a:t>Accomplished young professionals and promising university graduates</a:t>
            </a:r>
          </a:p>
          <a:p>
            <a:pPr>
              <a:lnSpc>
                <a:spcPct val="100000"/>
              </a:lnSpc>
            </a:pPr>
            <a:r>
              <a:rPr lang="en-GB" sz="2000"/>
              <a:t>Interest in international issu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2F655A-C0F0-25FD-4E37-CDA47CA90D82}"/>
              </a:ext>
            </a:extLst>
          </p:cNvPr>
          <p:cNvSpPr txBox="1">
            <a:spLocks/>
          </p:cNvSpPr>
          <p:nvPr/>
        </p:nvSpPr>
        <p:spPr>
          <a:xfrm>
            <a:off x="4795030" y="3290682"/>
            <a:ext cx="4481195" cy="137827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000"/>
              <a:t>Proven leadership potential</a:t>
            </a:r>
          </a:p>
          <a:p>
            <a:pPr>
              <a:lnSpc>
                <a:spcPct val="100000"/>
              </a:lnSpc>
            </a:pPr>
            <a:r>
              <a:rPr lang="en-GB" sz="2000"/>
              <a:t>Prospective decision-makers, multipliers and thought leaders in their field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BC1B5B1-D0DC-D929-D0A1-F3C422053495}"/>
              </a:ext>
            </a:extLst>
          </p:cNvPr>
          <p:cNvSpPr txBox="1"/>
          <p:nvPr/>
        </p:nvSpPr>
        <p:spPr>
          <a:xfrm>
            <a:off x="2340955" y="2042094"/>
            <a:ext cx="18184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solidFill>
                  <a:schemeClr val="accent5"/>
                </a:solidFill>
                <a:latin typeface="IBM Plex Sans" panose="020B0503050203000203" pitchFamily="34" charset="0"/>
              </a:rPr>
              <a:t>PERSONALITY</a:t>
            </a:r>
            <a:endParaRPr lang="de-DE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4333D06-1687-FE30-5CF7-0922B64DA9EB}"/>
              </a:ext>
            </a:extLst>
          </p:cNvPr>
          <p:cNvSpPr txBox="1">
            <a:spLocks/>
          </p:cNvSpPr>
          <p:nvPr/>
        </p:nvSpPr>
        <p:spPr>
          <a:xfrm>
            <a:off x="4795029" y="4848208"/>
            <a:ext cx="4481195" cy="137827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000"/>
              <a:t>University graduates from all disciplines</a:t>
            </a:r>
          </a:p>
          <a:p>
            <a:pPr>
              <a:lnSpc>
                <a:spcPct val="100000"/>
              </a:lnSpc>
            </a:pPr>
            <a:r>
              <a:rPr lang="en-GB" sz="2000"/>
              <a:t>Young professionals from broad range of professional fields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924B8DB-34CD-671E-71B2-38365F6551FA}"/>
              </a:ext>
            </a:extLst>
          </p:cNvPr>
          <p:cNvSpPr txBox="1"/>
          <p:nvPr/>
        </p:nvSpPr>
        <p:spPr>
          <a:xfrm>
            <a:off x="2340954" y="3290682"/>
            <a:ext cx="15849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solidFill>
                  <a:schemeClr val="accent5"/>
                </a:solidFill>
                <a:latin typeface="IBM Plex Sans" panose="020B0503050203000203" pitchFamily="34" charset="0"/>
              </a:rPr>
              <a:t>POTENTIAL</a:t>
            </a:r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7B7E9BB-FCA4-C4D9-7AF3-F66F582CB6CB}"/>
              </a:ext>
            </a:extLst>
          </p:cNvPr>
          <p:cNvSpPr txBox="1"/>
          <p:nvPr/>
        </p:nvSpPr>
        <p:spPr>
          <a:xfrm>
            <a:off x="2340955" y="4839646"/>
            <a:ext cx="19076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solidFill>
                  <a:schemeClr val="accent5"/>
                </a:solidFill>
                <a:latin typeface="IBM Plex Sans" panose="020B0503050203000203" pitchFamily="34" charset="0"/>
              </a:rPr>
              <a:t>BACKGROUND</a:t>
            </a:r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2454A804-34DD-DB00-2441-B6ABD2FF8976}"/>
              </a:ext>
            </a:extLst>
          </p:cNvPr>
          <p:cNvCxnSpPr/>
          <p:nvPr/>
        </p:nvCxnSpPr>
        <p:spPr>
          <a:xfrm>
            <a:off x="2474976" y="3195448"/>
            <a:ext cx="718108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A4899516-94B9-F663-17A7-51765C285C3B}"/>
              </a:ext>
            </a:extLst>
          </p:cNvPr>
          <p:cNvCxnSpPr/>
          <p:nvPr/>
        </p:nvCxnSpPr>
        <p:spPr>
          <a:xfrm>
            <a:off x="2474976" y="4761542"/>
            <a:ext cx="718108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BB712C1A-BC6C-9E12-EF08-07C1DEF3FFE8}"/>
              </a:ext>
            </a:extLst>
          </p:cNvPr>
          <p:cNvSpPr/>
          <p:nvPr/>
        </p:nvSpPr>
        <p:spPr>
          <a:xfrm>
            <a:off x="10872502" y="1923254"/>
            <a:ext cx="439387" cy="4393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23A11D4-83E9-34EB-BD80-FF3F0C12DD7F}"/>
              </a:ext>
            </a:extLst>
          </p:cNvPr>
          <p:cNvSpPr/>
          <p:nvPr/>
        </p:nvSpPr>
        <p:spPr>
          <a:xfrm>
            <a:off x="11733468" y="2623594"/>
            <a:ext cx="201880" cy="2018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A880C14-3445-4F1E-868B-6F23A7467335}"/>
              </a:ext>
            </a:extLst>
          </p:cNvPr>
          <p:cNvSpPr/>
          <p:nvPr/>
        </p:nvSpPr>
        <p:spPr>
          <a:xfrm>
            <a:off x="11131037" y="411897"/>
            <a:ext cx="180852" cy="18085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52CF664-0DEB-E0DE-32EA-055FECC15EFF}"/>
              </a:ext>
            </a:extLst>
          </p:cNvPr>
          <p:cNvSpPr/>
          <p:nvPr/>
        </p:nvSpPr>
        <p:spPr>
          <a:xfrm>
            <a:off x="10238767" y="3250870"/>
            <a:ext cx="178130" cy="1781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616F143F-D1A8-383B-08D3-505645E203C8}"/>
              </a:ext>
            </a:extLst>
          </p:cNvPr>
          <p:cNvCxnSpPr>
            <a:cxnSpLocks/>
            <a:stCxn id="14" idx="4"/>
            <a:endCxn id="12" idx="0"/>
          </p:cNvCxnSpPr>
          <p:nvPr/>
        </p:nvCxnSpPr>
        <p:spPr>
          <a:xfrm flipH="1">
            <a:off x="11092196" y="592749"/>
            <a:ext cx="129267" cy="133050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46308D6B-6A29-7A7B-9DF8-CED1E8CE0651}"/>
              </a:ext>
            </a:extLst>
          </p:cNvPr>
          <p:cNvCxnSpPr>
            <a:cxnSpLocks/>
            <a:stCxn id="13" idx="1"/>
            <a:endCxn id="12" idx="5"/>
          </p:cNvCxnSpPr>
          <p:nvPr/>
        </p:nvCxnSpPr>
        <p:spPr>
          <a:xfrm flipH="1" flipV="1">
            <a:off x="11247542" y="2298294"/>
            <a:ext cx="515491" cy="3548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E076F027-1431-D570-8968-80A90F9B4DA2}"/>
              </a:ext>
            </a:extLst>
          </p:cNvPr>
          <p:cNvCxnSpPr>
            <a:cxnSpLocks/>
            <a:stCxn id="12" idx="3"/>
            <a:endCxn id="15" idx="7"/>
          </p:cNvCxnSpPr>
          <p:nvPr/>
        </p:nvCxnSpPr>
        <p:spPr>
          <a:xfrm flipH="1">
            <a:off x="10390810" y="2298294"/>
            <a:ext cx="546039" cy="9786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F6721E34-93D0-233E-D3CC-ED235DF927D4}"/>
              </a:ext>
            </a:extLst>
          </p:cNvPr>
          <p:cNvCxnSpPr>
            <a:cxnSpLocks/>
            <a:endCxn id="14" idx="7"/>
          </p:cNvCxnSpPr>
          <p:nvPr/>
        </p:nvCxnSpPr>
        <p:spPr>
          <a:xfrm flipH="1">
            <a:off x="11285404" y="238760"/>
            <a:ext cx="927674" cy="1996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97A3804D-EE8E-89D5-B5DB-6B8C140709F5}"/>
              </a:ext>
            </a:extLst>
          </p:cNvPr>
          <p:cNvCxnSpPr>
            <a:cxnSpLocks/>
            <a:endCxn id="13" idx="6"/>
          </p:cNvCxnSpPr>
          <p:nvPr/>
        </p:nvCxnSpPr>
        <p:spPr>
          <a:xfrm flipH="1">
            <a:off x="11935348" y="2623594"/>
            <a:ext cx="256652" cy="1009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34906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9tFdr.REm2Pont8TWN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rFRvaBwU..ri9BRVfSS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zsDZaYVEyufRS15Ovp5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IfYsPc0yhWsL2hj1IE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ojG4P6mUq9kVdtNPFQi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d5pqMiaE.0CxIEGof2O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3N8qTyrkKIo0Fg1Z7q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0tlFPJtESthmRDxjij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Qkqa4cy0OHkjdKWJEbu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TCwKB5Fk6rHbPLSYhT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F10FS2k0KfcEbDiA73K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ob4kMp0ydrfl9SmMl9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JnpoOG0Em1QWHQvMI3y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eTnkVAzkSKhx5mgXySU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2EYem9UyJobGXrLRTu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g81MK3lEOWca3F5I_7h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URozQy2UmEmJx6Wibwn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Pa2hCn.EKncEeBx1Yge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5fHFzZE0mSoNkdPB_FE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2MD5RIL0CnuNJMLT.OL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lqZXwKWkKhDcs4RPpHo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EiGKcbf0eMJRwuxxQRt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S.hAPVUEW8EWLIOvNg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fItiMewUqGMEkirSpLT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X1DYF8H0KHPUCdJB5s4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bcfyaYREGNPk2BxL9E7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2peCvTb02gI3V85_0gD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rVxzferUqBku5hkg_Z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U3W.XEuEmspL20OqMdN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g52HVGGU2zQzxVaQ4uT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NeVQ1QnEOw2Iu.qrOR9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mASxbq.kK9WMvh3WegP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twXE5YtEKauqtPj5I2x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fglXvipEaowuyieaQz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vGdmLj1kSbuIhACYbnW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Q5aVmA9kmjM3TziqSo5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G9cuOCk2jxYW99PlS6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xn0kGG9k6iROIPOR0PV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K758jsnEKHZqDrpgxhZ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toqjeK7U.f9CdJOBnc_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6xgYqBtk6.ylsKGt42x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hTcgKZlEmo7en5.Kgdy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uUmL8NvE.Jx1KlBNSv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1npRXtpUqNiO6v6EuD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panfOUXEisl1XB93Hw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aLDqeYsk6IfyvDAORzd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BYZSDHHEaMAk4P4k6bY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tfZQVOg0a2ohA0wlOWh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yRysMCuEKbRFu7E4Gz8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L5ZEY2_0qOynU6NpnC6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LLrQvevkOY8ZSYfUs6k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tyT_6hEuMDgBjvYHKU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b1L5xZNEegwbLMZ4j6h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VqBlgtLEai2J9vjS7X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YU7DUV_EidKbOIdx.kn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ksFreRg061es90gR4d6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OCgjIPeUCeW8z1_iWVc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DihwEjFUOcBCHTOVHeJ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yFboOR1kGI8.lT_PSOn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CFtmZVki2mFDPt9Ct6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Ur2BBHLEqAItJvfZgB_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WvIecEFE66yUWC5nAzF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sVIB_qS0uSlNqQwDxsB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Z0Fou47UevjLOfyLNB1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pl6lK3EEuOyzR74uTsr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XsoJKkTU.syiIJL2XjM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4cIs3a60G6A5Ea4YZ3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jDBYYbzEeMkw5opg16q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6G_fPepEW3dRBl9twUz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GY8W.y1kWK8t05GSgQZ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ZJnWY2bEi2hsCqCGoA9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4TCYr5A0OuCdQLwkGl7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9dIhRYbkCBGMjlvqvF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M5Uv.GrEy8QhPBJYlL1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j7CDKgY0KB1dqGiknQf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6eHdLa80C8cdE815FqW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SHy7NPQEC7StiF4CR8R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V.DCXxaEKsf5KoAogg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Jc2_TD9UqymgWZPUdJR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AxE3Pl_0ed.lr4Jt.Fa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.x4gD.F0y_wURB_jicg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14Z4fZk0W1U5pgPyTLm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8EJGW4LE.iFELv7DqoI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hBxYw1iU.tvZ04gOPW8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iwY2PS90mQN_jtevrkJ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4B2GYrL0qWpVFReoDgQ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8G3Db402TwovKdkK5s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3LT59LrE69I9NsEpW_r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d3O.kE802rxhlL1jSl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Zxg87sPkGR2k21qf7Ug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qOgRpqHUuft8_OvCHH9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F59VqLpEq986l7jExrU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2dvVGFNkm9MWK.RmPLn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sGT5lqtUy8cnIsfxOcW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FNXBhexk62yIrTZab2M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.IKsGKkEGiBZlo55KuB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YvCkSn2k.ZulRoDjpVX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edngyZfEmIVoyI.WW59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TFkxoE6UWHgtF90Dt1R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9V2PYRZ0WFlWOjUidF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LGyRPWSkabCdzkxe9fC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z_jHnklEC0E_vXXhvLG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qWYdtkukmhXWczoVbtq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rIzcu2kGumODVqAqdF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sGVALEsUqvk7aAEWOKn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M9WLRUIUKfIE8ZxRLuJ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0seMuAyU60eI8ZhlKxN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sRLV5zNku.iOZ_UhDIQ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kzsnP0LE2a3_rWwTRUx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Im8HAxo0aMmQtaoYwng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WD7aPW.02UPsqktFdz1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6EfcxJjU6ZGJEijy2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ayb0lI0uNH2VskOIaX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o6x63Ziki8JoPsfFbjU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4HUwfE.0ukRJ38ISTe.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fUaficqkG9_uool7fob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sXQ2yEoE6OLk4hclF9U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idtQcs50GRK.x6vt26P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RCCtAmVkqI3NG7hw_0G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IZgilE.EypLeXLe6KI8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eVAZALQUuVdVB7Edtvk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o.ZaNFDkmtvBqIN8ZOv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yU9ZcUVUKoWSBwLq2W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nl2BR.VUeC2_yXSTJL6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fZ7NoaQEmHv5LneYCCS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IycDe97kKnlrjuu1mXn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gdqnXN7U.hlodRpcJeG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iMlu0DGkGYs7BHdNH5O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XIXnHW0uR95sNncXtt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vmBwFEaUuAIIK2ZTX4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Zxrp6wrUeQcURxdvEiN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z9ixijR0adMW.2eToME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xvWUulaUSAQVbleQBcF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VnEUrcFEiMyp9lAHoX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UFQHcrPEaRIn.7DcCKW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V4wszKdUiiTV_.Rrefm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9g.EukRESbxjkclWIzf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OmUzqBSUqEV_Z49G_Hr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AqQqIVW0KzyVjnPBx_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xAZRLQsk66gdgYAit5Z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DyEYNFkKscopXhRGb3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VzHEvr00S_hGJe2Y_o9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uC3Ug8lkWQNtFe.yBJ8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rmKulClEOfhXyUrzC9p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MrijMwlU.RkkMbHUht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aHLno1T0yao5Jf8ZxEJ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wFGfKgc0Gyv_7x21cUZ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etjrGP7UONKLUMEQn1c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r8FjdfxkGnTiz7Vvwxi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lUP.mzkyjYC7GY3pps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8TK1ixxk.YGEllD3Ft1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OuomWX4EWGqwnW5Woq9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qiTlw.kOZNd4Jf3jPi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08oi._T0S0VMEJFVNY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feop2MlU2V6f5qt61rE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gRYsI_d0SsczmX57cg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MF5PWjmUavy42UM1fWk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OrRvB1a0CjJAgArPpAn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w1f.BKCEmy5.B6lj3dC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U0dh2zdkaC8DNA3OLGC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GZLpCFk06FpxinMxNya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mhQvwcJkWAtYh6xicTs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LFMjYrxkG6.BGsNgCzO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sB9t8_.0OXgMrZvXIFg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KD7iAuMEukVKN.Qfrw8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i7pPtNBEyCyugbjQLui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8L6tdT2k2cOKFm4.EX3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Fk3TKdIEiy9mifWsRi1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BSnBSk_kO2bEauM_cFr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v5YxNmE026a9J4COAG1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nGr2W9HkK6wAkgOMDmC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kVWkbgJEC.sxY3aYk1m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rd0oTJHEyytgYXIcPor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XpBkOiPE6NkvdILXrmo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_o6sZtzUGnefk.vTDVH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Oj_s4jxU2zOnRa_nir8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AxShPYVESM5.GFLCBtI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H5cHRQp06ssyIF8VAe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DxZgn9ECSM.G2Ih6Py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dhUq66sU.e9_f7TV4am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DeT2mhDUmVWL6UoCn3d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naaDdOf0Cx_Dez08nqm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muLxB04kuN9XzoMKDCo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x_SXuTMkKs87NPKJ8Nq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kttmd1UOk._MgeAIJq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jtb4PK0WTQSQPYRRXB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JgANjIZUmf2Z9wkan5a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FezY1GDUGIq89VoPZHj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mA7I8F_0S5aRp8kGX7Z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D.valAXkO0sJnjQTDb1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oV587V9ki5KKtCqQ9x5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.8Mh19UUaehCqp1ltWd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U4aP1G20CtQkfs2TPs8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UN1.SOw0622UNoQzqcz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1RnlUqw0C4onjwcHYjr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vFl0ZL.E.8k6UEyisUL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JmHvEjE0.UkTfb.pG5f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IXzO.k.E.pbU2z.ugHR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C248mOGUGDGteF2XtKu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wlGX_9JEKzYZxxFPNZ2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pziwZxzkm3u9Q2apucE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xA.6kZTkihSQG9u9Q90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gW23o4d0CsGXnlyN_AE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95FWHk0OiTFMDG3ZMW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aIfjvApki8RL1MlMwKS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zVIj77Hk6Vu0CdJJrco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I3WbckaE6pf73N3LIRb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A6LIQ6_E.zwNPlp4KMY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vOvTR2H0Chp509P5iT8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giPCRJLkui0w8GA8q6H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WX7t5s.ke7zdyfpn0k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GJBjKEhEWJCuA7LcSN3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1.8kHu0EqO89d9CF.oj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vpLieRrE6JVLGawztQz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y8eoKTMkufFIUDgeZIq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nfsZpza06uwz6KEjnNr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lYyA99QUG5IR7cgU_Oc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stuGMZWE69BpaU.GQpq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0PB9viHkaZKMtaN8b.D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257Wudl0Cl4t5lMM3GQ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93730oVkicRRbBfU.Yo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S5pPAD5ky4woqkHtkH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ZAE.yRO0S6sr8eAg1Z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CjkQjeRUGQdVZu54Yg1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2p.h5IP0WTSNnyT4LZq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7odbFm30SyCLQxTGUNP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7v4pfobkW_2BZv9P740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25j5w8ZEiIYRYtq2XwF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ghBCyGzUOMX3179spdo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HPmvAu50a7em7jkNeOw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RYJI2R70q8mNbydNeGM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0AGwWf5Emw0RjxaSZkO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fuBS3IHk2cU5al9LR2v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EmrcsM_0uT2ZoXBxWI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7onVyPKESHLlVi1njwL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OQ0i.zQkKlP9Pl9xw.4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7tYBndZUqneblmsnYti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OxIfn1YESId4ruwG1lx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rao2jtsk2WY.tD7a3jV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Z_Av27gUimpNzZWGPeS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.oImGv7UeuLSaPffhfB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gGrctpuECnOZSegHbCt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Ss4fTKI0iBaQDQNPlHl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cnZX7zVE.3MbPWJ3KdN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._pnUQckecsUB9ExQT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Y2LKxt50WxCeFCB5MG9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fPIgEG7km2NG1s7cIOv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CKeNf8aUiA5wI8N2Boi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67nEzI6UaKJ2f3OKFvL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BPmxsDa0eSzlR7L.h9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DYLnfk0qMgFnGUcMn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OaVtbFq0OrzyBxlluvc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7qv1gDY0mJo4dVH4WIs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3N7dFdy0mmObSO6Ubs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9VQT1V9UeYhcAPPjjS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XbCjdYQ0OdoS6i4Zwt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a6rrKLq0qZvyzEwFwH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dkiwNLqEinJHz6X1Sxa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WlKLYTNUynKOCD_QMt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VivpMB60.b57sV2Pnip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INoCRdeEWMtMtIm6PS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vk7NcwpECuZzlDdiYMc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MiIXVRTUipq3JORwLWU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rHr6BwoUexCrNYKlXyf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dOvIbCK0qXTP8m1EUt.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tQWVomkS.B9b5OUpB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Oywl60q0.wqRzsvlC4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In3F6CAE.gP8R68Zs5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7M7CkjECZJ.xBU9WNh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RFropa0kqy8O6cS3O2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ad0NNk8EqK.AYWpWL1d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WZVir0xk2l_eEq.q7Y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4abOIbXU6.wNpHisdzl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6cVS6alE6_xTrPGMCO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.z1uRgkqplrdO7dmdS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ocCqyCRkyEo8E00OjDS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BM64aTN0ack.ub2XQOU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HN.I0a30aObItRQx4Jc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PkcuKX0UmFg5qdvCJ9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g5R81xnUGSSiSGv9fBD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BNQcyE0kCA7JLceijnF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Cg5Ru8uEmAaUFN3RHLF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D2u30pW0.LTFR_hv9Cu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IwnBC2l02iDAXDoGZz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mslMDzk6M51ZirSFWC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c36P0PXEGxO7smuqR3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vQMgRBa06jaLJQUBvc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zSEJAC3UyiGUZM0fQu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acYA88qkmftImZzO7m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tEX9.tak6DSxdX3mLQ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fHfbsSdk.pz_94jrvF5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GEcFoqDkWyjifWDfGJG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oPc7ymZEWrUsB.odJui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9YAsOfhES17PgGhM931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dSeoe5H0qcGiyppql0t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1IdK.cyEGID5tOh6AOq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YSAb73fU22FxpYN5q5j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RUnnqwPUapG37bzJJDs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McTmpw10SFbvhlTwM.n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8.ce2WO0av_yfhbT9y7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O2hmBt1U6banQmX7bW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gnHtfILk651G7TeRgFT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z_LHeOzEeY9sLVDa5V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49h8zA5UmNwdfwIM3Dy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B.BJKtckS2.DAuTKJq0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yOLICaEeI9U4_soyay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dFKx_eCkyH8kzngl5h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tBwjHn50auSmfV4UIO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JqOM1koEG1dPvRZ3E6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mwZoxVQkebqyxFN5vo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PGSkph4UupBvaOc4Kh.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r1dMpLV0.WG8Qos4ds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r7.iKTl0qG_3D8JQhqk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h3M936VEKFm7A4ql5N.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ExL_SE1UiUZZJGsLyF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2Y2wDmG0WYUvtxNWk09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YGUxP8hkOCS8ML16RVh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s4aoDrkESy2W7mexAuv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s8iX6bDkOHRs5Gwwwks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zCVZEeN0u3Uq6hhht6I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mdODQSLUmtjJSSdA3AZ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wDIgE13UibQ8hkQOQ8Z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YVu_k_JUSJTXYk6d8Djw"/>
</p:tagLst>
</file>

<file path=ppt/theme/theme1.xml><?xml version="1.0" encoding="utf-8"?>
<a:theme xmlns:a="http://schemas.openxmlformats.org/drawingml/2006/main" name="Office">
  <a:themeElements>
    <a:clrScheme name="AvH Farb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C299"/>
      </a:accent1>
      <a:accent2>
        <a:srgbClr val="00D5E3"/>
      </a:accent2>
      <a:accent3>
        <a:srgbClr val="45C3C3"/>
      </a:accent3>
      <a:accent4>
        <a:srgbClr val="FF9664"/>
      </a:accent4>
      <a:accent5>
        <a:srgbClr val="75EB9E"/>
      </a:accent5>
      <a:accent6>
        <a:srgbClr val="FF0046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7AF41747C8C2342B6564689130371FA" ma:contentTypeVersion="13" ma:contentTypeDescription="Ein neues Dokument erstellen." ma:contentTypeScope="" ma:versionID="05b2024ab691b89ae21a49ae2e2622aa">
  <xsd:schema xmlns:xsd="http://www.w3.org/2001/XMLSchema" xmlns:xs="http://www.w3.org/2001/XMLSchema" xmlns:p="http://schemas.microsoft.com/office/2006/metadata/properties" xmlns:ns2="a37eff5b-52a1-444d-aae7-f7b46aaf3323" xmlns:ns3="008c5496-f11a-4c31-b893-f6b1548afa54" xmlns:ns4="6b443cd7-39c8-4ab5-9f01-57e5763feeff" targetNamespace="http://schemas.microsoft.com/office/2006/metadata/properties" ma:root="true" ma:fieldsID="7b026fc1beca7332fe53b5572925c0e0" ns2:_="" ns3:_="" ns4:_="">
    <xsd:import namespace="a37eff5b-52a1-444d-aae7-f7b46aaf3323"/>
    <xsd:import namespace="008c5496-f11a-4c31-b893-f6b1548afa54"/>
    <xsd:import namespace="6b443cd7-39c8-4ab5-9f01-57e5763feef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7eff5b-52a1-444d-aae7-f7b46aaf332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8c5496-f11a-4c31-b893-f6b1548afa5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101d7c45-964c-47a9-8082-1365842f00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443cd7-39c8-4ab5-9f01-57e5763feeff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ac7053a5-3cb3-40bd-b171-faad63f88041}" ma:internalName="TaxCatchAll" ma:showField="CatchAllData" ma:web="a37eff5b-52a1-444d-aae7-f7b46aaf33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b443cd7-39c8-4ab5-9f01-57e5763feeff" xsi:nil="true"/>
    <lcf76f155ced4ddcb4097134ff3c332f xmlns="008c5496-f11a-4c31-b893-f6b1548afa5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965111D-693A-41DF-8D4C-B9D988E80A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A4D4DF0-3F2F-4455-9B92-9AA924AB32B8}">
  <ds:schemaRefs>
    <ds:schemaRef ds:uri="008c5496-f11a-4c31-b893-f6b1548afa54"/>
    <ds:schemaRef ds:uri="6b443cd7-39c8-4ab5-9f01-57e5763feeff"/>
    <ds:schemaRef ds:uri="a37eff5b-52a1-444d-aae7-f7b46aaf332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63D2917-2F4E-4675-81BD-7E40307E3CFD}">
  <ds:schemaRefs>
    <ds:schemaRef ds:uri="http://schemas.microsoft.com/office/2006/metadata/properties"/>
    <ds:schemaRef ds:uri="http://purl.org/dc/dcmitype/"/>
    <ds:schemaRef ds:uri="6b443cd7-39c8-4ab5-9f01-57e5763feeff"/>
    <ds:schemaRef ds:uri="a37eff5b-52a1-444d-aae7-f7b46aaf3323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008c5496-f11a-4c31-b893-f6b1548afa54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9</Words>
  <Application>Microsoft Office PowerPoint</Application>
  <PresentationFormat>Breitbild</PresentationFormat>
  <Paragraphs>148</Paragraphs>
  <Slides>20</Slides>
  <Notes>7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8" baseType="lpstr">
      <vt:lpstr>Arial</vt:lpstr>
      <vt:lpstr>Calibri</vt:lpstr>
      <vt:lpstr>IBM Plex Sans</vt:lpstr>
      <vt:lpstr>IBM Plex Sans Light</vt:lpstr>
      <vt:lpstr>IBM Plex Sans Medium</vt:lpstr>
      <vt:lpstr>IBM Plex Sans Thin</vt:lpstr>
      <vt:lpstr>Symbol</vt:lpstr>
      <vt:lpstr>Office</vt:lpstr>
      <vt:lpstr>EXZELLENZ  VERBINDET – BE PART OF A  WORLDWIDE NETWORK</vt:lpstr>
      <vt:lpstr>GERMAN CHANCELLOR FELLOWSHIP for prospective leaders </vt:lpstr>
      <vt:lpstr>THE HUMBOLDT FOUNDATION AT A GLANCE</vt:lpstr>
      <vt:lpstr>OUR ROOTS</vt:lpstr>
      <vt:lpstr>GERMAN CHANCELLOR FELLOWSHIP</vt:lpstr>
      <vt:lpstr>PowerPoint-Präsentation</vt:lpstr>
      <vt:lpstr>IDEAS CAN ONLY BEAR FRUIT IF THEY TAKE ROOT IN MANY MINDS.</vt:lpstr>
      <vt:lpstr>NETWORK GERMAN CHANCELLOR FELLOWSHIP</vt:lpstr>
      <vt:lpstr>PowerPoint-Präsentation</vt:lpstr>
      <vt:lpstr>PowerPoint-Präsentation</vt:lpstr>
      <vt:lpstr>FELLOWSHIP BENEFITS</vt:lpstr>
      <vt:lpstr>NETWORKING EVENTS</vt:lpstr>
      <vt:lpstr>GERMAN CHANCELLOR FELLOWS at the FOREIGN OFFICE</vt:lpstr>
      <vt:lpstr>APPLICATION REQUIREMENTS</vt:lpstr>
      <vt:lpstr>SELECTION CRITERIA</vt:lpstr>
      <vt:lpstr>ADVICE ON FINDING A HOST</vt:lpstr>
      <vt:lpstr>PowerPoint-Präsentation</vt:lpstr>
      <vt:lpstr>TESTIMONIALS… </vt:lpstr>
      <vt:lpstr>THANK YOU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rote, Alexander</dc:creator>
  <cp:lastModifiedBy>Wuensche, Stefan</cp:lastModifiedBy>
  <cp:revision>1</cp:revision>
  <dcterms:created xsi:type="dcterms:W3CDTF">2023-02-09T08:46:02Z</dcterms:created>
  <dcterms:modified xsi:type="dcterms:W3CDTF">2023-06-22T11:1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EBD0A6B954AE42AB899E847E6D2B83</vt:lpwstr>
  </property>
  <property fmtid="{D5CDD505-2E9C-101B-9397-08002B2CF9AE}" pid="3" name="MediaServiceImageTags">
    <vt:lpwstr/>
  </property>
</Properties>
</file>